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6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314" r:id="rId5"/>
    <p:sldId id="345" r:id="rId6"/>
    <p:sldId id="348" r:id="rId7"/>
    <p:sldId id="347" r:id="rId8"/>
    <p:sldId id="349" r:id="rId9"/>
    <p:sldId id="350" r:id="rId10"/>
    <p:sldId id="351" r:id="rId11"/>
    <p:sldId id="343" r:id="rId12"/>
    <p:sldId id="313" r:id="rId13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45"/>
            <p14:sldId id="348"/>
            <p14:sldId id="347"/>
            <p14:sldId id="349"/>
            <p14:sldId id="350"/>
            <p14:sldId id="351"/>
            <p14:sldId id="343"/>
            <p14:sldId id="3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C3DB"/>
    <a:srgbClr val="EC008C"/>
    <a:srgbClr val="F599C3"/>
    <a:srgbClr val="F27CB1"/>
    <a:srgbClr val="F06AA7"/>
    <a:srgbClr val="FDE9F2"/>
    <a:srgbClr val="FACEE2"/>
    <a:srgbClr val="FFE8A7"/>
    <a:srgbClr val="FFD55D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1CC572-2920-44EC-8853-30901BDC4433}" v="2213" dt="2022-03-21T21:23:34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021CC572-2920-44EC-8853-30901BDC4433}"/>
    <pc:docChg chg="undo custSel addSld delSld modSld sldOrd modSection">
      <pc:chgData name="Helena Laasjärvi" userId="147922e0-9e4e-413c-924b-93f8f61c2127" providerId="ADAL" clId="{021CC572-2920-44EC-8853-30901BDC4433}" dt="2022-03-21T21:23:31.464" v="748" actId="47"/>
      <pc:docMkLst>
        <pc:docMk/>
      </pc:docMkLst>
      <pc:sldChg chg="del">
        <pc:chgData name="Helena Laasjärvi" userId="147922e0-9e4e-413c-924b-93f8f61c2127" providerId="ADAL" clId="{021CC572-2920-44EC-8853-30901BDC4433}" dt="2022-03-21T21:23:14.942" v="730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021CC572-2920-44EC-8853-30901BDC4433}" dt="2022-03-21T21:22:53.513" v="689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021CC572-2920-44EC-8853-30901BDC4433}" dt="2022-03-21T21:22:55.841" v="694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021CC572-2920-44EC-8853-30901BDC4433}" dt="2022-03-21T21:22:55.386" v="693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021CC572-2920-44EC-8853-30901BDC4433}" dt="2022-03-21T21:22:54.992" v="692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021CC572-2920-44EC-8853-30901BDC4433}" dt="2022-03-21T21:22:54.432" v="691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021CC572-2920-44EC-8853-30901BDC4433}" dt="2022-03-21T21:22:53.999" v="690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021CC572-2920-44EC-8853-30901BDC4433}" dt="2022-03-21T21:22:57.229" v="697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021CC572-2920-44EC-8853-30901BDC4433}" dt="2022-03-21T21:22:56.759" v="696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021CC572-2920-44EC-8853-30901BDC4433}" dt="2022-03-21T21:22:56.390" v="695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021CC572-2920-44EC-8853-30901BDC4433}" dt="2022-03-21T21:22:57.693" v="698" actId="47"/>
        <pc:sldMkLst>
          <pc:docMk/>
          <pc:sldMk cId="715913612" sldId="288"/>
        </pc:sldMkLst>
      </pc:sldChg>
      <pc:sldChg chg="del">
        <pc:chgData name="Helena Laasjärvi" userId="147922e0-9e4e-413c-924b-93f8f61c2127" providerId="ADAL" clId="{021CC572-2920-44EC-8853-30901BDC4433}" dt="2022-03-21T21:23:03.579" v="710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021CC572-2920-44EC-8853-30901BDC4433}" dt="2022-03-21T21:23:01.303" v="706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021CC572-2920-44EC-8853-30901BDC4433}" dt="2022-03-21T21:23:00.870" v="705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021CC572-2920-44EC-8853-30901BDC4433}" dt="2022-03-21T21:23:00.385" v="704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021CC572-2920-44EC-8853-30901BDC4433}" dt="2022-03-21T21:22:59.980" v="703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021CC572-2920-44EC-8853-30901BDC4433}" dt="2022-03-21T21:22:59.602" v="702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021CC572-2920-44EC-8853-30901BDC4433}" dt="2022-03-21T21:22:59.134" v="701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021CC572-2920-44EC-8853-30901BDC4433}" dt="2022-03-21T21:22:58.733" v="700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021CC572-2920-44EC-8853-30901BDC4433}" dt="2022-03-21T21:22:58.279" v="699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021CC572-2920-44EC-8853-30901BDC4433}" dt="2022-03-21T21:23:03.093" v="709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021CC572-2920-44EC-8853-30901BDC4433}" dt="2022-03-21T21:23:02.221" v="707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021CC572-2920-44EC-8853-30901BDC4433}" dt="2022-03-21T21:23:02.661" v="708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021CC572-2920-44EC-8853-30901BDC4433}" dt="2022-03-21T21:23:05.785" v="714" actId="47"/>
        <pc:sldMkLst>
          <pc:docMk/>
          <pc:sldMk cId="4103225806" sldId="303"/>
        </pc:sldMkLst>
      </pc:sldChg>
      <pc:sldChg chg="del">
        <pc:chgData name="Helena Laasjärvi" userId="147922e0-9e4e-413c-924b-93f8f61c2127" providerId="ADAL" clId="{021CC572-2920-44EC-8853-30901BDC4433}" dt="2022-03-21T21:23:19.628" v="736" actId="47"/>
        <pc:sldMkLst>
          <pc:docMk/>
          <pc:sldMk cId="2567248277" sldId="304"/>
        </pc:sldMkLst>
      </pc:sldChg>
      <pc:sldChg chg="del">
        <pc:chgData name="Helena Laasjärvi" userId="147922e0-9e4e-413c-924b-93f8f61c2127" providerId="ADAL" clId="{021CC572-2920-44EC-8853-30901BDC4433}" dt="2022-03-21T21:23:12.848" v="725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021CC572-2920-44EC-8853-30901BDC4433}" dt="2022-03-21T21:23:04.930" v="713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021CC572-2920-44EC-8853-30901BDC4433}" dt="2022-03-21T21:23:28.881" v="745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021CC572-2920-44EC-8853-30901BDC4433}" dt="2022-03-21T21:23:04.477" v="712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021CC572-2920-44EC-8853-30901BDC4433}" dt="2022-03-21T21:23:12.057" v="723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021CC572-2920-44EC-8853-30901BDC4433}" dt="2022-03-21T21:23:04.049" v="711" actId="47"/>
        <pc:sldMkLst>
          <pc:docMk/>
          <pc:sldMk cId="2657336914" sldId="312"/>
        </pc:sldMkLst>
      </pc:sldChg>
      <pc:sldChg chg="modSp mod ord">
        <pc:chgData name="Helena Laasjärvi" userId="147922e0-9e4e-413c-924b-93f8f61c2127" providerId="ADAL" clId="{021CC572-2920-44EC-8853-30901BDC4433}" dt="2022-03-21T21:22:01.614" v="688" actId="14100"/>
        <pc:sldMkLst>
          <pc:docMk/>
          <pc:sldMk cId="588515560" sldId="313"/>
        </pc:sldMkLst>
        <pc:picChg chg="mod">
          <ac:chgData name="Helena Laasjärvi" userId="147922e0-9e4e-413c-924b-93f8f61c2127" providerId="ADAL" clId="{021CC572-2920-44EC-8853-30901BDC4433}" dt="2022-03-21T21:22:01.614" v="688" actId="14100"/>
          <ac:picMkLst>
            <pc:docMk/>
            <pc:sldMk cId="588515560" sldId="313"/>
            <ac:picMk id="11" creationId="{5B29651F-B6A1-4255-9E21-CACB7100E2FC}"/>
          </ac:picMkLst>
        </pc:picChg>
      </pc:sldChg>
      <pc:sldChg chg="addSp delSp modSp mod">
        <pc:chgData name="Helena Laasjärvi" userId="147922e0-9e4e-413c-924b-93f8f61c2127" providerId="ADAL" clId="{021CC572-2920-44EC-8853-30901BDC4433}" dt="2022-03-21T21:04:00.367" v="314"/>
        <pc:sldMkLst>
          <pc:docMk/>
          <pc:sldMk cId="181922694" sldId="314"/>
        </pc:sldMkLst>
        <pc:spChg chg="mod">
          <ac:chgData name="Helena Laasjärvi" userId="147922e0-9e4e-413c-924b-93f8f61c2127" providerId="ADAL" clId="{021CC572-2920-44EC-8853-30901BDC4433}" dt="2022-03-21T21:03:15.257" v="265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021CC572-2920-44EC-8853-30901BDC4433}" dt="2022-03-21T21:02:57.587" v="42"/>
          <ac:spMkLst>
            <pc:docMk/>
            <pc:sldMk cId="181922694" sldId="314"/>
            <ac:spMk id="46" creationId="{6CD74A20-6901-4904-8572-ACBE071B836F}"/>
          </ac:spMkLst>
        </pc:spChg>
        <pc:spChg chg="add del mod modVis">
          <ac:chgData name="Helena Laasjärvi" userId="147922e0-9e4e-413c-924b-93f8f61c2127" providerId="ADAL" clId="{021CC572-2920-44EC-8853-30901BDC4433}" dt="2022-03-21T21:03:02.222" v="86"/>
          <ac:spMkLst>
            <pc:docMk/>
            <pc:sldMk cId="181922694" sldId="314"/>
            <ac:spMk id="47" creationId="{153C9CFF-4CE8-473A-AE56-3FBC033DF19B}"/>
          </ac:spMkLst>
        </pc:spChg>
        <pc:spChg chg="add del mod modVis">
          <ac:chgData name="Helena Laasjärvi" userId="147922e0-9e4e-413c-924b-93f8f61c2127" providerId="ADAL" clId="{021CC572-2920-44EC-8853-30901BDC4433}" dt="2022-03-21T21:03:05.740" v="129"/>
          <ac:spMkLst>
            <pc:docMk/>
            <pc:sldMk cId="181922694" sldId="314"/>
            <ac:spMk id="48" creationId="{7EE5EF6A-96F1-4587-B1AC-1F313FFAEFBC}"/>
          </ac:spMkLst>
        </pc:spChg>
        <pc:spChg chg="add del mod modVis">
          <ac:chgData name="Helena Laasjärvi" userId="147922e0-9e4e-413c-924b-93f8f61c2127" providerId="ADAL" clId="{021CC572-2920-44EC-8853-30901BDC4433}" dt="2022-03-21T21:03:06.604" v="174"/>
          <ac:spMkLst>
            <pc:docMk/>
            <pc:sldMk cId="181922694" sldId="314"/>
            <ac:spMk id="49" creationId="{1A3FDA04-E2F8-4B1C-B4E4-F0CA91BBDB54}"/>
          </ac:spMkLst>
        </pc:spChg>
        <pc:spChg chg="add del mod modVis">
          <ac:chgData name="Helena Laasjärvi" userId="147922e0-9e4e-413c-924b-93f8f61c2127" providerId="ADAL" clId="{021CC572-2920-44EC-8853-30901BDC4433}" dt="2022-03-21T21:03:07.209" v="217"/>
          <ac:spMkLst>
            <pc:docMk/>
            <pc:sldMk cId="181922694" sldId="314"/>
            <ac:spMk id="50" creationId="{1DA1B0A5-86EA-4A1E-9EFB-9215BC987D7C}"/>
          </ac:spMkLst>
        </pc:spChg>
        <pc:spChg chg="add del mod modVis">
          <ac:chgData name="Helena Laasjärvi" userId="147922e0-9e4e-413c-924b-93f8f61c2127" providerId="ADAL" clId="{021CC572-2920-44EC-8853-30901BDC4433}" dt="2022-03-21T21:03:14.272" v="260"/>
          <ac:spMkLst>
            <pc:docMk/>
            <pc:sldMk cId="181922694" sldId="314"/>
            <ac:spMk id="51" creationId="{3F4F6E67-7ADC-4C99-92E8-6ABA3276A748}"/>
          </ac:spMkLst>
        </pc:spChg>
        <pc:spChg chg="add del mod modVis">
          <ac:chgData name="Helena Laasjärvi" userId="147922e0-9e4e-413c-924b-93f8f61c2127" providerId="ADAL" clId="{021CC572-2920-44EC-8853-30901BDC4433}" dt="2022-03-21T21:03:15.326" v="304"/>
          <ac:spMkLst>
            <pc:docMk/>
            <pc:sldMk cId="181922694" sldId="314"/>
            <ac:spMk id="52" creationId="{C4F39A32-032A-470A-9F65-FEF4F25C5348}"/>
          </ac:spMkLst>
        </pc:spChg>
        <pc:graphicFrameChg chg="mod">
          <ac:chgData name="Helena Laasjärvi" userId="147922e0-9e4e-413c-924b-93f8f61c2127" providerId="ADAL" clId="{021CC572-2920-44EC-8853-30901BDC4433}" dt="2022-03-21T21:03:15.326" v="306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21CC572-2920-44EC-8853-30901BDC4433}" dt="2022-03-21T21:04:00.367" v="314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021CC572-2920-44EC-8853-30901BDC4433}" dt="2022-03-21T21:23:14.109" v="728" actId="47"/>
        <pc:sldMkLst>
          <pc:docMk/>
          <pc:sldMk cId="724025729" sldId="315"/>
        </pc:sldMkLst>
      </pc:sldChg>
      <pc:sldChg chg="del">
        <pc:chgData name="Helena Laasjärvi" userId="147922e0-9e4e-413c-924b-93f8f61c2127" providerId="ADAL" clId="{021CC572-2920-44EC-8853-30901BDC4433}" dt="2022-03-21T21:23:07.617" v="715" actId="47"/>
        <pc:sldMkLst>
          <pc:docMk/>
          <pc:sldMk cId="3149145955" sldId="316"/>
        </pc:sldMkLst>
      </pc:sldChg>
      <pc:sldChg chg="del">
        <pc:chgData name="Helena Laasjärvi" userId="147922e0-9e4e-413c-924b-93f8f61c2127" providerId="ADAL" clId="{021CC572-2920-44EC-8853-30901BDC4433}" dt="2022-03-21T21:23:13.707" v="727" actId="47"/>
        <pc:sldMkLst>
          <pc:docMk/>
          <pc:sldMk cId="863750448" sldId="317"/>
        </pc:sldMkLst>
      </pc:sldChg>
      <pc:sldChg chg="del">
        <pc:chgData name="Helena Laasjärvi" userId="147922e0-9e4e-413c-924b-93f8f61c2127" providerId="ADAL" clId="{021CC572-2920-44EC-8853-30901BDC4433}" dt="2022-03-21T21:23:14.502" v="729" actId="47"/>
        <pc:sldMkLst>
          <pc:docMk/>
          <pc:sldMk cId="1594535289" sldId="319"/>
        </pc:sldMkLst>
      </pc:sldChg>
      <pc:sldChg chg="del">
        <pc:chgData name="Helena Laasjärvi" userId="147922e0-9e4e-413c-924b-93f8f61c2127" providerId="ADAL" clId="{021CC572-2920-44EC-8853-30901BDC4433}" dt="2022-03-21T21:23:08.152" v="716" actId="47"/>
        <pc:sldMkLst>
          <pc:docMk/>
          <pc:sldMk cId="2851854799" sldId="320"/>
        </pc:sldMkLst>
      </pc:sldChg>
      <pc:sldChg chg="del">
        <pc:chgData name="Helena Laasjärvi" userId="147922e0-9e4e-413c-924b-93f8f61c2127" providerId="ADAL" clId="{021CC572-2920-44EC-8853-30901BDC4433}" dt="2022-03-21T21:23:31.464" v="748" actId="47"/>
        <pc:sldMkLst>
          <pc:docMk/>
          <pc:sldMk cId="31896352" sldId="321"/>
        </pc:sldMkLst>
      </pc:sldChg>
      <pc:sldChg chg="del">
        <pc:chgData name="Helena Laasjärvi" userId="147922e0-9e4e-413c-924b-93f8f61c2127" providerId="ADAL" clId="{021CC572-2920-44EC-8853-30901BDC4433}" dt="2022-03-21T21:23:09.711" v="718" actId="47"/>
        <pc:sldMkLst>
          <pc:docMk/>
          <pc:sldMk cId="34063811" sldId="322"/>
        </pc:sldMkLst>
      </pc:sldChg>
      <pc:sldChg chg="del">
        <pc:chgData name="Helena Laasjärvi" userId="147922e0-9e4e-413c-924b-93f8f61c2127" providerId="ADAL" clId="{021CC572-2920-44EC-8853-30901BDC4433}" dt="2022-03-21T21:23:27.012" v="741" actId="47"/>
        <pc:sldMkLst>
          <pc:docMk/>
          <pc:sldMk cId="2302383710" sldId="323"/>
        </pc:sldMkLst>
      </pc:sldChg>
      <pc:sldChg chg="del">
        <pc:chgData name="Helena Laasjärvi" userId="147922e0-9e4e-413c-924b-93f8f61c2127" providerId="ADAL" clId="{021CC572-2920-44EC-8853-30901BDC4433}" dt="2022-03-21T21:23:08.584" v="717" actId="47"/>
        <pc:sldMkLst>
          <pc:docMk/>
          <pc:sldMk cId="742727706" sldId="324"/>
        </pc:sldMkLst>
      </pc:sldChg>
      <pc:sldChg chg="del">
        <pc:chgData name="Helena Laasjärvi" userId="147922e0-9e4e-413c-924b-93f8f61c2127" providerId="ADAL" clId="{021CC572-2920-44EC-8853-30901BDC4433}" dt="2022-03-21T21:23:10.815" v="720" actId="47"/>
        <pc:sldMkLst>
          <pc:docMk/>
          <pc:sldMk cId="2673673509" sldId="325"/>
        </pc:sldMkLst>
      </pc:sldChg>
      <pc:sldChg chg="del">
        <pc:chgData name="Helena Laasjärvi" userId="147922e0-9e4e-413c-924b-93f8f61c2127" providerId="ADAL" clId="{021CC572-2920-44EC-8853-30901BDC4433}" dt="2022-03-21T21:23:10.112" v="719" actId="47"/>
        <pc:sldMkLst>
          <pc:docMk/>
          <pc:sldMk cId="450801208" sldId="326"/>
        </pc:sldMkLst>
      </pc:sldChg>
      <pc:sldChg chg="del">
        <pc:chgData name="Helena Laasjärvi" userId="147922e0-9e4e-413c-924b-93f8f61c2127" providerId="ADAL" clId="{021CC572-2920-44EC-8853-30901BDC4433}" dt="2022-03-21T21:23:11.617" v="722" actId="47"/>
        <pc:sldMkLst>
          <pc:docMk/>
          <pc:sldMk cId="1955026970" sldId="327"/>
        </pc:sldMkLst>
      </pc:sldChg>
      <pc:sldChg chg="del">
        <pc:chgData name="Helena Laasjärvi" userId="147922e0-9e4e-413c-924b-93f8f61c2127" providerId="ADAL" clId="{021CC572-2920-44EC-8853-30901BDC4433}" dt="2022-03-21T21:23:11.247" v="721" actId="47"/>
        <pc:sldMkLst>
          <pc:docMk/>
          <pc:sldMk cId="647569095" sldId="328"/>
        </pc:sldMkLst>
      </pc:sldChg>
      <pc:sldChg chg="del">
        <pc:chgData name="Helena Laasjärvi" userId="147922e0-9e4e-413c-924b-93f8f61c2127" providerId="ADAL" clId="{021CC572-2920-44EC-8853-30901BDC4433}" dt="2022-03-21T21:23:13.291" v="726" actId="47"/>
        <pc:sldMkLst>
          <pc:docMk/>
          <pc:sldMk cId="2303161499" sldId="329"/>
        </pc:sldMkLst>
      </pc:sldChg>
      <pc:sldChg chg="del">
        <pc:chgData name="Helena Laasjärvi" userId="147922e0-9e4e-413c-924b-93f8f61c2127" providerId="ADAL" clId="{021CC572-2920-44EC-8853-30901BDC4433}" dt="2022-03-21T21:23:18.709" v="734" actId="47"/>
        <pc:sldMkLst>
          <pc:docMk/>
          <pc:sldMk cId="4044381824" sldId="330"/>
        </pc:sldMkLst>
      </pc:sldChg>
      <pc:sldChg chg="del">
        <pc:chgData name="Helena Laasjärvi" userId="147922e0-9e4e-413c-924b-93f8f61c2127" providerId="ADAL" clId="{021CC572-2920-44EC-8853-30901BDC4433}" dt="2022-03-21T21:23:12.419" v="724" actId="47"/>
        <pc:sldMkLst>
          <pc:docMk/>
          <pc:sldMk cId="3929637336" sldId="331"/>
        </pc:sldMkLst>
      </pc:sldChg>
      <pc:sldChg chg="del">
        <pc:chgData name="Helena Laasjärvi" userId="147922e0-9e4e-413c-924b-93f8f61c2127" providerId="ADAL" clId="{021CC572-2920-44EC-8853-30901BDC4433}" dt="2022-03-21T21:23:22.134" v="738" actId="47"/>
        <pc:sldMkLst>
          <pc:docMk/>
          <pc:sldMk cId="2656244910" sldId="332"/>
        </pc:sldMkLst>
      </pc:sldChg>
      <pc:sldChg chg="del">
        <pc:chgData name="Helena Laasjärvi" userId="147922e0-9e4e-413c-924b-93f8f61c2127" providerId="ADAL" clId="{021CC572-2920-44EC-8853-30901BDC4433}" dt="2022-03-21T21:23:28.649" v="744" actId="47"/>
        <pc:sldMkLst>
          <pc:docMk/>
          <pc:sldMk cId="3837540713" sldId="333"/>
        </pc:sldMkLst>
      </pc:sldChg>
      <pc:sldChg chg="del">
        <pc:chgData name="Helena Laasjärvi" userId="147922e0-9e4e-413c-924b-93f8f61c2127" providerId="ADAL" clId="{021CC572-2920-44EC-8853-30901BDC4433}" dt="2022-03-21T21:23:19.180" v="735" actId="47"/>
        <pc:sldMkLst>
          <pc:docMk/>
          <pc:sldMk cId="4093303929" sldId="334"/>
        </pc:sldMkLst>
      </pc:sldChg>
      <pc:sldChg chg="del">
        <pc:chgData name="Helena Laasjärvi" userId="147922e0-9e4e-413c-924b-93f8f61c2127" providerId="ADAL" clId="{021CC572-2920-44EC-8853-30901BDC4433}" dt="2022-03-21T21:23:18.042" v="733" actId="47"/>
        <pc:sldMkLst>
          <pc:docMk/>
          <pc:sldMk cId="3060497981" sldId="335"/>
        </pc:sldMkLst>
      </pc:sldChg>
      <pc:sldChg chg="del">
        <pc:chgData name="Helena Laasjärvi" userId="147922e0-9e4e-413c-924b-93f8f61c2127" providerId="ADAL" clId="{021CC572-2920-44EC-8853-30901BDC4433}" dt="2022-03-21T21:23:20.856" v="737" actId="47"/>
        <pc:sldMkLst>
          <pc:docMk/>
          <pc:sldMk cId="1273959850" sldId="336"/>
        </pc:sldMkLst>
      </pc:sldChg>
      <pc:sldChg chg="del">
        <pc:chgData name="Helena Laasjärvi" userId="147922e0-9e4e-413c-924b-93f8f61c2127" providerId="ADAL" clId="{021CC572-2920-44EC-8853-30901BDC4433}" dt="2022-03-21T21:23:17.648" v="732" actId="47"/>
        <pc:sldMkLst>
          <pc:docMk/>
          <pc:sldMk cId="1435096970" sldId="337"/>
        </pc:sldMkLst>
      </pc:sldChg>
      <pc:sldChg chg="del">
        <pc:chgData name="Helena Laasjärvi" userId="147922e0-9e4e-413c-924b-93f8f61c2127" providerId="ADAL" clId="{021CC572-2920-44EC-8853-30901BDC4433}" dt="2022-03-21T21:23:16.594" v="731" actId="47"/>
        <pc:sldMkLst>
          <pc:docMk/>
          <pc:sldMk cId="3401915877" sldId="338"/>
        </pc:sldMkLst>
      </pc:sldChg>
      <pc:sldChg chg="del">
        <pc:chgData name="Helena Laasjärvi" userId="147922e0-9e4e-413c-924b-93f8f61c2127" providerId="ADAL" clId="{021CC572-2920-44EC-8853-30901BDC4433}" dt="2022-03-21T21:23:28.147" v="743" actId="47"/>
        <pc:sldMkLst>
          <pc:docMk/>
          <pc:sldMk cId="2551821641" sldId="339"/>
        </pc:sldMkLst>
      </pc:sldChg>
      <pc:sldChg chg="del">
        <pc:chgData name="Helena Laasjärvi" userId="147922e0-9e4e-413c-924b-93f8f61c2127" providerId="ADAL" clId="{021CC572-2920-44EC-8853-30901BDC4433}" dt="2022-03-21T21:23:27.413" v="742" actId="47"/>
        <pc:sldMkLst>
          <pc:docMk/>
          <pc:sldMk cId="2877642831" sldId="340"/>
        </pc:sldMkLst>
      </pc:sldChg>
      <pc:sldChg chg="del">
        <pc:chgData name="Helena Laasjärvi" userId="147922e0-9e4e-413c-924b-93f8f61c2127" providerId="ADAL" clId="{021CC572-2920-44EC-8853-30901BDC4433}" dt="2022-03-21T21:23:23.475" v="740" actId="47"/>
        <pc:sldMkLst>
          <pc:docMk/>
          <pc:sldMk cId="1745881650" sldId="341"/>
        </pc:sldMkLst>
      </pc:sldChg>
      <pc:sldChg chg="del">
        <pc:chgData name="Helena Laasjärvi" userId="147922e0-9e4e-413c-924b-93f8f61c2127" providerId="ADAL" clId="{021CC572-2920-44EC-8853-30901BDC4433}" dt="2022-03-21T21:23:22.588" v="739" actId="47"/>
        <pc:sldMkLst>
          <pc:docMk/>
          <pc:sldMk cId="1340546130" sldId="342"/>
        </pc:sldMkLst>
      </pc:sldChg>
      <pc:sldChg chg="addSp delSp modSp mod">
        <pc:chgData name="Helena Laasjärvi" userId="147922e0-9e4e-413c-924b-93f8f61c2127" providerId="ADAL" clId="{021CC572-2920-44EC-8853-30901BDC4433}" dt="2022-03-21T21:20:51.095" v="684" actId="20577"/>
        <pc:sldMkLst>
          <pc:docMk/>
          <pc:sldMk cId="3675680812" sldId="343"/>
        </pc:sldMkLst>
        <pc:spChg chg="mod">
          <ac:chgData name="Helena Laasjärvi" userId="147922e0-9e4e-413c-924b-93f8f61c2127" providerId="ADAL" clId="{021CC572-2920-44EC-8853-30901BDC4433}" dt="2022-03-21T21:19:23.609" v="625" actId="948"/>
          <ac:spMkLst>
            <pc:docMk/>
            <pc:sldMk cId="3675680812" sldId="34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021CC572-2920-44EC-8853-30901BDC4433}" dt="2022-03-21T21:19:23.678" v="664"/>
          <ac:spMkLst>
            <pc:docMk/>
            <pc:sldMk cId="3675680812" sldId="343"/>
            <ac:spMk id="3" creationId="{8CE64056-E5C4-47CE-8DFB-751089FA6CEA}"/>
          </ac:spMkLst>
        </pc:spChg>
        <pc:graphicFrameChg chg="mod">
          <ac:chgData name="Helena Laasjärvi" userId="147922e0-9e4e-413c-924b-93f8f61c2127" providerId="ADAL" clId="{021CC572-2920-44EC-8853-30901BDC4433}" dt="2022-03-21T21:19:23.678" v="666"/>
          <ac:graphicFrameMkLst>
            <pc:docMk/>
            <pc:sldMk cId="3675680812" sldId="34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21CC572-2920-44EC-8853-30901BDC4433}" dt="2022-03-21T21:20:51.095" v="684" actId="20577"/>
          <ac:graphicFrameMkLst>
            <pc:docMk/>
            <pc:sldMk cId="3675680812" sldId="343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021CC572-2920-44EC-8853-30901BDC4433}" dt="2022-03-21T21:23:30.338" v="747" actId="47"/>
        <pc:sldMkLst>
          <pc:docMk/>
          <pc:sldMk cId="2658458365" sldId="344"/>
        </pc:sldMkLst>
      </pc:sldChg>
      <pc:sldChg chg="addSp modSp mod ord">
        <pc:chgData name="Helena Laasjärvi" userId="147922e0-9e4e-413c-924b-93f8f61c2127" providerId="ADAL" clId="{021CC572-2920-44EC-8853-30901BDC4433}" dt="2022-03-21T21:06:53.677" v="335" actId="1076"/>
        <pc:sldMkLst>
          <pc:docMk/>
          <pc:sldMk cId="4035016516" sldId="345"/>
        </pc:sldMkLst>
        <pc:spChg chg="mod">
          <ac:chgData name="Helena Laasjärvi" userId="147922e0-9e4e-413c-924b-93f8f61c2127" providerId="ADAL" clId="{021CC572-2920-44EC-8853-30901BDC4433}" dt="2022-03-21T21:06:10.562" v="325" actId="1076"/>
          <ac:spMkLst>
            <pc:docMk/>
            <pc:sldMk cId="4035016516" sldId="345"/>
            <ac:spMk id="10" creationId="{0AA9639B-B7E2-44C5-9CA4-50187E024E5F}"/>
          </ac:spMkLst>
        </pc:spChg>
        <pc:graphicFrameChg chg="add mod">
          <ac:chgData name="Helena Laasjärvi" userId="147922e0-9e4e-413c-924b-93f8f61c2127" providerId="ADAL" clId="{021CC572-2920-44EC-8853-30901BDC4433}" dt="2022-03-21T21:06:53.677" v="335" actId="1076"/>
          <ac:graphicFrameMkLst>
            <pc:docMk/>
            <pc:sldMk cId="4035016516" sldId="345"/>
            <ac:graphicFrameMk id="11" creationId="{E414962B-1761-4E7F-BCEE-C104F3FF223E}"/>
          </ac:graphicFrameMkLst>
        </pc:graphicFrameChg>
        <pc:picChg chg="mod">
          <ac:chgData name="Helena Laasjärvi" userId="147922e0-9e4e-413c-924b-93f8f61c2127" providerId="ADAL" clId="{021CC572-2920-44EC-8853-30901BDC4433}" dt="2022-03-21T21:05:34.845" v="322" actId="14826"/>
          <ac:picMkLst>
            <pc:docMk/>
            <pc:sldMk cId="4035016516" sldId="345"/>
            <ac:picMk id="7" creationId="{88682EDC-89D4-4A9C-A2A6-BDAD52E6FF21}"/>
          </ac:picMkLst>
        </pc:picChg>
      </pc:sldChg>
      <pc:sldChg chg="del">
        <pc:chgData name="Helena Laasjärvi" userId="147922e0-9e4e-413c-924b-93f8f61c2127" providerId="ADAL" clId="{021CC572-2920-44EC-8853-30901BDC4433}" dt="2022-03-21T21:23:29.150" v="746" actId="47"/>
        <pc:sldMkLst>
          <pc:docMk/>
          <pc:sldMk cId="209444187" sldId="346"/>
        </pc:sldMkLst>
      </pc:sldChg>
      <pc:sldChg chg="addSp delSp modSp mod ord">
        <pc:chgData name="Helena Laasjärvi" userId="147922e0-9e4e-413c-924b-93f8f61c2127" providerId="ADAL" clId="{021CC572-2920-44EC-8853-30901BDC4433}" dt="2022-03-21T21:11:09.664" v="508"/>
        <pc:sldMkLst>
          <pc:docMk/>
          <pc:sldMk cId="3256550947" sldId="347"/>
        </pc:sldMkLst>
        <pc:spChg chg="add del">
          <ac:chgData name="Helena Laasjärvi" userId="147922e0-9e4e-413c-924b-93f8f61c2127" providerId="ADAL" clId="{021CC572-2920-44EC-8853-30901BDC4433}" dt="2022-03-21T21:10:44.619" v="377" actId="22"/>
          <ac:spMkLst>
            <pc:docMk/>
            <pc:sldMk cId="3256550947" sldId="347"/>
            <ac:spMk id="9" creationId="{5AA5793B-A76B-41CC-807F-C9328666B8EC}"/>
          </ac:spMkLst>
        </pc:spChg>
        <pc:spChg chg="add del">
          <ac:chgData name="Helena Laasjärvi" userId="147922e0-9e4e-413c-924b-93f8f61c2127" providerId="ADAL" clId="{021CC572-2920-44EC-8853-30901BDC4433}" dt="2022-03-21T21:10:49.406" v="380" actId="22"/>
          <ac:spMkLst>
            <pc:docMk/>
            <pc:sldMk cId="3256550947" sldId="347"/>
            <ac:spMk id="11" creationId="{ACD06EE7-D1E9-41CD-9AB1-6D95105650A1}"/>
          </ac:spMkLst>
        </pc:spChg>
        <pc:spChg chg="add mod">
          <ac:chgData name="Helena Laasjärvi" userId="147922e0-9e4e-413c-924b-93f8f61c2127" providerId="ADAL" clId="{021CC572-2920-44EC-8853-30901BDC4433}" dt="2022-03-21T21:11:09.594" v="467" actId="948"/>
          <ac:spMkLst>
            <pc:docMk/>
            <pc:sldMk cId="3256550947" sldId="347"/>
            <ac:spMk id="12" creationId="{68CFF215-9282-4416-8A74-845BD52160D9}"/>
          </ac:spMkLst>
        </pc:spChg>
        <pc:spChg chg="add del mod modVis">
          <ac:chgData name="Helena Laasjärvi" userId="147922e0-9e4e-413c-924b-93f8f61c2127" providerId="ADAL" clId="{021CC572-2920-44EC-8853-30901BDC4433}" dt="2022-03-21T21:11:07.187" v="461" actId="962"/>
          <ac:spMkLst>
            <pc:docMk/>
            <pc:sldMk cId="3256550947" sldId="347"/>
            <ac:spMk id="13" creationId="{3064244D-3F60-4632-B1EF-5245EFBBD787}"/>
          </ac:spMkLst>
        </pc:spChg>
        <pc:spChg chg="add del mod modVis">
          <ac:chgData name="Helena Laasjärvi" userId="147922e0-9e4e-413c-924b-93f8f61c2127" providerId="ADAL" clId="{021CC572-2920-44EC-8853-30901BDC4433}" dt="2022-03-21T21:11:09.664" v="506"/>
          <ac:spMkLst>
            <pc:docMk/>
            <pc:sldMk cId="3256550947" sldId="347"/>
            <ac:spMk id="14" creationId="{13517573-52C9-4A2F-8F26-873B5E88FBAB}"/>
          </ac:spMkLst>
        </pc:spChg>
        <pc:graphicFrameChg chg="mod">
          <ac:chgData name="Helena Laasjärvi" userId="147922e0-9e4e-413c-924b-93f8f61c2127" providerId="ADAL" clId="{021CC572-2920-44EC-8853-30901BDC4433}" dt="2022-03-21T21:11:09.664" v="508"/>
          <ac:graphicFrameMkLst>
            <pc:docMk/>
            <pc:sldMk cId="3256550947" sldId="347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21CC572-2920-44EC-8853-30901BDC4433}" dt="2022-03-21T21:10:34.585" v="374"/>
          <ac:graphicFrameMkLst>
            <pc:docMk/>
            <pc:sldMk cId="3256550947" sldId="347"/>
            <ac:graphicFrameMk id="8" creationId="{311B8604-8FEE-42BB-AF19-CDBE2DDB3F11}"/>
          </ac:graphicFrameMkLst>
        </pc:graphicFrameChg>
      </pc:sldChg>
      <pc:sldChg chg="modSp add mod">
        <pc:chgData name="Helena Laasjärvi" userId="147922e0-9e4e-413c-924b-93f8f61c2127" providerId="ADAL" clId="{021CC572-2920-44EC-8853-30901BDC4433}" dt="2022-03-21T21:08:57.974" v="349" actId="14826"/>
        <pc:sldMkLst>
          <pc:docMk/>
          <pc:sldMk cId="1307906703" sldId="348"/>
        </pc:sldMkLst>
        <pc:spChg chg="mod">
          <ac:chgData name="Helena Laasjärvi" userId="147922e0-9e4e-413c-924b-93f8f61c2127" providerId="ADAL" clId="{021CC572-2920-44EC-8853-30901BDC4433}" dt="2022-03-21T21:08:11.303" v="345" actId="1076"/>
          <ac:spMkLst>
            <pc:docMk/>
            <pc:sldMk cId="1307906703" sldId="348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021CC572-2920-44EC-8853-30901BDC4433}" dt="2022-03-21T21:08:43.441" v="348" actId="1076"/>
          <ac:graphicFrameMkLst>
            <pc:docMk/>
            <pc:sldMk cId="1307906703" sldId="348"/>
            <ac:graphicFrameMk id="11" creationId="{E414962B-1761-4E7F-BCEE-C104F3FF223E}"/>
          </ac:graphicFrameMkLst>
        </pc:graphicFrameChg>
        <pc:picChg chg="mod">
          <ac:chgData name="Helena Laasjärvi" userId="147922e0-9e4e-413c-924b-93f8f61c2127" providerId="ADAL" clId="{021CC572-2920-44EC-8853-30901BDC4433}" dt="2022-03-21T21:08:57.974" v="349" actId="14826"/>
          <ac:picMkLst>
            <pc:docMk/>
            <pc:sldMk cId="1307906703" sldId="348"/>
            <ac:picMk id="7" creationId="{88682EDC-89D4-4A9C-A2A6-BDAD52E6FF21}"/>
          </ac:picMkLst>
        </pc:picChg>
      </pc:sldChg>
      <pc:sldChg chg="delSp modSp add mod ord delDesignElem chgLayout">
        <pc:chgData name="Helena Laasjärvi" userId="147922e0-9e4e-413c-924b-93f8f61c2127" providerId="ADAL" clId="{021CC572-2920-44EC-8853-30901BDC4433}" dt="2022-03-21T21:16:50.174" v="605" actId="1076"/>
        <pc:sldMkLst>
          <pc:docMk/>
          <pc:sldMk cId="1676898801" sldId="349"/>
        </pc:sldMkLst>
        <pc:spChg chg="mod">
          <ac:chgData name="Helena Laasjärvi" userId="147922e0-9e4e-413c-924b-93f8f61c2127" providerId="ADAL" clId="{021CC572-2920-44EC-8853-30901BDC4433}" dt="2022-03-21T21:16:40.263" v="603" actId="120"/>
          <ac:spMkLst>
            <pc:docMk/>
            <pc:sldMk cId="1676898801" sldId="349"/>
            <ac:spMk id="10" creationId="{0AA9639B-B7E2-44C5-9CA4-50187E024E5F}"/>
          </ac:spMkLst>
        </pc:spChg>
        <pc:spChg chg="del">
          <ac:chgData name="Helena Laasjärvi" userId="147922e0-9e4e-413c-924b-93f8f61c2127" providerId="ADAL" clId="{021CC572-2920-44EC-8853-30901BDC4433}" dt="2022-03-21T21:16:22.855" v="597"/>
          <ac:spMkLst>
            <pc:docMk/>
            <pc:sldMk cId="1676898801" sldId="349"/>
            <ac:spMk id="22" creationId="{3C54F4CE-85F0-46ED-80DA-9518C9251AD1}"/>
          </ac:spMkLst>
        </pc:spChg>
        <pc:spChg chg="del">
          <ac:chgData name="Helena Laasjärvi" userId="147922e0-9e4e-413c-924b-93f8f61c2127" providerId="ADAL" clId="{021CC572-2920-44EC-8853-30901BDC4433}" dt="2022-03-21T21:16:22.855" v="597"/>
          <ac:spMkLst>
            <pc:docMk/>
            <pc:sldMk cId="1676898801" sldId="349"/>
            <ac:spMk id="24" creationId="{DADD1FCA-8ACB-4958-81DD-4CDD6D3E1921}"/>
          </ac:spMkLst>
        </pc:spChg>
        <pc:graphicFrameChg chg="mod">
          <ac:chgData name="Helena Laasjärvi" userId="147922e0-9e4e-413c-924b-93f8f61c2127" providerId="ADAL" clId="{021CC572-2920-44EC-8853-30901BDC4433}" dt="2022-03-21T21:16:50.174" v="605" actId="1076"/>
          <ac:graphicFrameMkLst>
            <pc:docMk/>
            <pc:sldMk cId="1676898801" sldId="349"/>
            <ac:graphicFrameMk id="11" creationId="{E414962B-1761-4E7F-BCEE-C104F3FF223E}"/>
          </ac:graphicFrameMkLst>
        </pc:graphicFrameChg>
        <pc:picChg chg="mod">
          <ac:chgData name="Helena Laasjärvi" userId="147922e0-9e4e-413c-924b-93f8f61c2127" providerId="ADAL" clId="{021CC572-2920-44EC-8853-30901BDC4433}" dt="2022-03-21T21:16:46.127" v="604" actId="1076"/>
          <ac:picMkLst>
            <pc:docMk/>
            <pc:sldMk cId="1676898801" sldId="349"/>
            <ac:picMk id="7" creationId="{88682EDC-89D4-4A9C-A2A6-BDAD52E6FF21}"/>
          </ac:picMkLst>
        </pc:picChg>
      </pc:sldChg>
      <pc:sldChg chg="addSp delSp modSp add mod ord">
        <pc:chgData name="Helena Laasjärvi" userId="147922e0-9e4e-413c-924b-93f8f61c2127" providerId="ADAL" clId="{021CC572-2920-44EC-8853-30901BDC4433}" dt="2022-03-21T21:16:06.169" v="595" actId="1076"/>
        <pc:sldMkLst>
          <pc:docMk/>
          <pc:sldMk cId="2180868305" sldId="350"/>
        </pc:sldMkLst>
        <pc:spChg chg="add del mod modVis">
          <ac:chgData name="Helena Laasjärvi" userId="147922e0-9e4e-413c-924b-93f8f61c2127" providerId="ADAL" clId="{021CC572-2920-44EC-8853-30901BDC4433}" dt="2022-03-21T21:14:43.386" v="573"/>
          <ac:spMkLst>
            <pc:docMk/>
            <pc:sldMk cId="2180868305" sldId="350"/>
            <ac:spMk id="2" creationId="{52BA28C5-839F-4762-9FA3-D4A0932A75CD}"/>
          </ac:spMkLst>
        </pc:spChg>
        <pc:spChg chg="mod">
          <ac:chgData name="Helena Laasjärvi" userId="147922e0-9e4e-413c-924b-93f8f61c2127" providerId="ADAL" clId="{021CC572-2920-44EC-8853-30901BDC4433}" dt="2022-03-21T21:14:43.270" v="534" actId="948"/>
          <ac:spMkLst>
            <pc:docMk/>
            <pc:sldMk cId="2180868305" sldId="350"/>
            <ac:spMk id="12" creationId="{68CFF215-9282-4416-8A74-845BD52160D9}"/>
          </ac:spMkLst>
        </pc:spChg>
        <pc:grpChg chg="mod">
          <ac:chgData name="Helena Laasjärvi" userId="147922e0-9e4e-413c-924b-93f8f61c2127" providerId="ADAL" clId="{021CC572-2920-44EC-8853-30901BDC4433}" dt="2022-03-21T21:14:32.630" v="530"/>
          <ac:grpSpMkLst>
            <pc:docMk/>
            <pc:sldMk cId="2180868305" sldId="350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021CC572-2920-44EC-8853-30901BDC4433}" dt="2022-03-21T21:14:43.386" v="575"/>
          <ac:graphicFrameMkLst>
            <pc:docMk/>
            <pc:sldMk cId="2180868305" sldId="350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21CC572-2920-44EC-8853-30901BDC4433}" dt="2022-03-21T21:16:06.169" v="595" actId="1076"/>
          <ac:graphicFrameMkLst>
            <pc:docMk/>
            <pc:sldMk cId="2180868305" sldId="350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021CC572-2920-44EC-8853-30901BDC4433}" dt="2022-03-21T21:14:32.630" v="530"/>
          <ac:picMkLst>
            <pc:docMk/>
            <pc:sldMk cId="2180868305" sldId="350"/>
            <ac:picMk id="4" creationId="{CF47ABF3-D808-437C-99C9-B7CE14174BFD}"/>
          </ac:picMkLst>
        </pc:picChg>
      </pc:sldChg>
      <pc:sldChg chg="addSp delSp modSp add mod ord">
        <pc:chgData name="Helena Laasjärvi" userId="147922e0-9e4e-413c-924b-93f8f61c2127" providerId="ADAL" clId="{021CC572-2920-44EC-8853-30901BDC4433}" dt="2022-03-21T21:18:47.568" v="623" actId="1076"/>
        <pc:sldMkLst>
          <pc:docMk/>
          <pc:sldMk cId="1987196611" sldId="351"/>
        </pc:sldMkLst>
        <pc:spChg chg="mod">
          <ac:chgData name="Helena Laasjärvi" userId="147922e0-9e4e-413c-924b-93f8f61c2127" providerId="ADAL" clId="{021CC572-2920-44EC-8853-30901BDC4433}" dt="2022-03-21T21:17:31.715" v="613" actId="1076"/>
          <ac:spMkLst>
            <pc:docMk/>
            <pc:sldMk cId="1987196611" sldId="35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021CC572-2920-44EC-8853-30901BDC4433}" dt="2022-03-21T21:18:47.568" v="623" actId="1076"/>
          <ac:graphicFrameMkLst>
            <pc:docMk/>
            <pc:sldMk cId="1987196611" sldId="351"/>
            <ac:graphicFrameMk id="11" creationId="{E414962B-1761-4E7F-BCEE-C104F3FF223E}"/>
          </ac:graphicFrameMkLst>
        </pc:graphicFrameChg>
        <pc:picChg chg="add del">
          <ac:chgData name="Helena Laasjärvi" userId="147922e0-9e4e-413c-924b-93f8f61c2127" providerId="ADAL" clId="{021CC572-2920-44EC-8853-30901BDC4433}" dt="2022-03-21T21:18:31.836" v="620" actId="22"/>
          <ac:picMkLst>
            <pc:docMk/>
            <pc:sldMk cId="1987196611" sldId="351"/>
            <ac:picMk id="5" creationId="{F8DF7AB3-E3E6-4548-A51C-625B8FCAFE71}"/>
          </ac:picMkLst>
        </pc:picChg>
        <pc:picChg chg="mod">
          <ac:chgData name="Helena Laasjärvi" userId="147922e0-9e4e-413c-924b-93f8f61c2127" providerId="ADAL" clId="{021CC572-2920-44EC-8853-30901BDC4433}" dt="2022-03-21T21:18:44.151" v="622" actId="1076"/>
          <ac:picMkLst>
            <pc:docMk/>
            <pc:sldMk cId="1987196611" sldId="351"/>
            <ac:picMk id="7" creationId="{88682EDC-89D4-4A9C-A2A6-BDAD52E6FF21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A2FEB62-94FD-4C24-8355-50688969AD4D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Genotyyppi tarkoittaa yksilön perimää</a:t>
          </a:r>
        </a:p>
      </dgm:t>
    </dgm:pt>
    <dgm:pt modelId="{9E6791F2-B524-4403-A82A-BF6CD36DAB95}" type="parTrans" cxnId="{1C52B669-EFA9-4A39-BEA0-C339FF358077}">
      <dgm:prSet/>
      <dgm:spPr/>
      <dgm:t>
        <a:bodyPr/>
        <a:lstStyle/>
        <a:p>
          <a:endParaRPr lang="fi-FI"/>
        </a:p>
      </dgm:t>
    </dgm:pt>
    <dgm:pt modelId="{3B8D3B9C-A915-4364-882E-D96151E61335}" type="sibTrans" cxnId="{1C52B669-EFA9-4A39-BEA0-C339FF358077}">
      <dgm:prSet/>
      <dgm:spPr/>
      <dgm:t>
        <a:bodyPr/>
        <a:lstStyle/>
        <a:p>
          <a:endParaRPr lang="fi-FI"/>
        </a:p>
      </dgm:t>
    </dgm:pt>
    <dgm:pt modelId="{339922CF-443F-4894-91FD-005CEC5C15F3}">
      <dgm:prSet/>
      <dgm:spPr/>
      <dgm:t>
        <a:bodyPr/>
        <a:lstStyle/>
        <a:p>
          <a:r>
            <a:rPr lang="fi-FI" dirty="0"/>
            <a:t>yksittäisiä mutaatioita lukuun ottamatta pysyvä</a:t>
          </a:r>
        </a:p>
      </dgm:t>
    </dgm:pt>
    <dgm:pt modelId="{1C4CEA2A-F707-4385-A98A-125843945B9C}" type="parTrans" cxnId="{6E1697AF-6C45-48E6-8B1B-90655E6E977E}">
      <dgm:prSet/>
      <dgm:spPr/>
      <dgm:t>
        <a:bodyPr/>
        <a:lstStyle/>
        <a:p>
          <a:endParaRPr lang="fi-FI"/>
        </a:p>
      </dgm:t>
    </dgm:pt>
    <dgm:pt modelId="{FF6CAB30-D0EC-4C7A-A43A-33DB7E2D4E71}" type="sibTrans" cxnId="{6E1697AF-6C45-48E6-8B1B-90655E6E977E}">
      <dgm:prSet/>
      <dgm:spPr/>
      <dgm:t>
        <a:bodyPr/>
        <a:lstStyle/>
        <a:p>
          <a:endParaRPr lang="fi-FI"/>
        </a:p>
      </dgm:t>
    </dgm:pt>
    <dgm:pt modelId="{BC019F87-FEDD-4F4C-9AAC-3B188DA21DC2}">
      <dgm:prSet/>
      <dgm:spPr/>
      <dgm:t>
        <a:bodyPr/>
        <a:lstStyle/>
        <a:p>
          <a:endParaRPr lang="fi-FI" dirty="0"/>
        </a:p>
      </dgm:t>
    </dgm:pt>
    <dgm:pt modelId="{CBCFF85D-E938-4705-BC5E-B7AC61F66645}" type="parTrans" cxnId="{8E9426A2-1DFB-4ECF-B8C9-AC4A36F9BA0C}">
      <dgm:prSet/>
      <dgm:spPr/>
      <dgm:t>
        <a:bodyPr/>
        <a:lstStyle/>
        <a:p>
          <a:endParaRPr lang="fi-FI"/>
        </a:p>
      </dgm:t>
    </dgm:pt>
    <dgm:pt modelId="{95A500F2-2618-421E-BD1B-46FCE74A7ED4}" type="sibTrans" cxnId="{8E9426A2-1DFB-4ECF-B8C9-AC4A36F9BA0C}">
      <dgm:prSet/>
      <dgm:spPr/>
      <dgm:t>
        <a:bodyPr/>
        <a:lstStyle/>
        <a:p>
          <a:endParaRPr lang="fi-FI"/>
        </a:p>
      </dgm:t>
    </dgm:pt>
    <dgm:pt modelId="{15B6BC13-8826-4134-BCEC-BDF9501CDD69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Fenotyyppi tarkoittaa perimän ja ympäristön määräämää yksilön ilmiasua</a:t>
          </a:r>
        </a:p>
      </dgm:t>
    </dgm:pt>
    <dgm:pt modelId="{84F4059D-917B-44AB-B3A8-2A28131ACB47}" type="parTrans" cxnId="{46DEFFFE-115F-4CF2-9993-8A53244F52BA}">
      <dgm:prSet/>
      <dgm:spPr/>
      <dgm:t>
        <a:bodyPr/>
        <a:lstStyle/>
        <a:p>
          <a:endParaRPr lang="fi-FI"/>
        </a:p>
      </dgm:t>
    </dgm:pt>
    <dgm:pt modelId="{D9F02F5B-5DAC-4737-B236-5333316B2915}" type="sibTrans" cxnId="{46DEFFFE-115F-4CF2-9993-8A53244F52BA}">
      <dgm:prSet/>
      <dgm:spPr/>
      <dgm:t>
        <a:bodyPr/>
        <a:lstStyle/>
        <a:p>
          <a:endParaRPr lang="fi-FI"/>
        </a:p>
      </dgm:t>
    </dgm:pt>
    <dgm:pt modelId="{CA71CB90-A297-4D29-9F45-73FD8F00EE90}">
      <dgm:prSet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 err="1"/>
            <a:t>Muovautumismuutelu</a:t>
          </a:r>
          <a:r>
            <a:rPr lang="fi-FI" dirty="0"/>
            <a:t> tarkoittaa yksilön fenotyypin muuttumista ympäristön mukaan perimän asettamissa rajoissa</a:t>
          </a:r>
        </a:p>
      </dgm:t>
    </dgm:pt>
    <dgm:pt modelId="{63D6E51F-9D5C-4FBB-9B37-D50D0231DF14}" type="parTrans" cxnId="{5F6FCECA-5985-45D8-A00C-EF10F17A6324}">
      <dgm:prSet/>
      <dgm:spPr/>
      <dgm:t>
        <a:bodyPr/>
        <a:lstStyle/>
        <a:p>
          <a:endParaRPr lang="fi-FI"/>
        </a:p>
      </dgm:t>
    </dgm:pt>
    <dgm:pt modelId="{BD85D29B-333F-4797-A8FB-FED9F09A2820}" type="sibTrans" cxnId="{5F6FCECA-5985-45D8-A00C-EF10F17A6324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F0AF7A49-36F5-44C3-A7EB-8BC603A6B688}" type="pres">
      <dgm:prSet presAssocID="{6A2FEB62-94FD-4C24-8355-50688969AD4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B99CBFE-938F-4BB1-92BB-6C5373694C26}" type="pres">
      <dgm:prSet presAssocID="{6A2FEB62-94FD-4C24-8355-50688969AD4D}" presName="childText" presStyleLbl="revTx" presStyleIdx="0" presStyleCnt="1">
        <dgm:presLayoutVars>
          <dgm:bulletEnabled val="1"/>
        </dgm:presLayoutVars>
      </dgm:prSet>
      <dgm:spPr/>
    </dgm:pt>
    <dgm:pt modelId="{A41D108A-C88D-499A-9A24-515F253DAB78}" type="pres">
      <dgm:prSet presAssocID="{15B6BC13-8826-4134-BCEC-BDF9501CDD6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2C485A3-7945-4988-AB1C-33A1E427F1B6}" type="pres">
      <dgm:prSet presAssocID="{D9F02F5B-5DAC-4737-B236-5333316B2915}" presName="spacer" presStyleCnt="0"/>
      <dgm:spPr/>
    </dgm:pt>
    <dgm:pt modelId="{18EACDC4-6BB6-46F6-8188-FD4A6A747C4A}" type="pres">
      <dgm:prSet presAssocID="{CA71CB90-A297-4D29-9F45-73FD8F00EE90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1C52B669-EFA9-4A39-BEA0-C339FF358077}" srcId="{2DD9BEDF-B9E2-4ABA-A056-FFA32216D3C8}" destId="{6A2FEB62-94FD-4C24-8355-50688969AD4D}" srcOrd="0" destOrd="0" parTransId="{9E6791F2-B524-4403-A82A-BF6CD36DAB95}" sibTransId="{3B8D3B9C-A915-4364-882E-D96151E61335}"/>
    <dgm:cxn modelId="{7001AC58-415A-438A-8097-6AAE0364BFD4}" type="presOf" srcId="{CA71CB90-A297-4D29-9F45-73FD8F00EE90}" destId="{18EACDC4-6BB6-46F6-8188-FD4A6A747C4A}" srcOrd="0" destOrd="0" presId="urn:microsoft.com/office/officeart/2005/8/layout/vList2"/>
    <dgm:cxn modelId="{EF63AA87-4764-4D59-BCCF-E580406289F5}" type="presOf" srcId="{339922CF-443F-4894-91FD-005CEC5C15F3}" destId="{9B99CBFE-938F-4BB1-92BB-6C5373694C26}" srcOrd="0" destOrd="0" presId="urn:microsoft.com/office/officeart/2005/8/layout/vList2"/>
    <dgm:cxn modelId="{8E9426A2-1DFB-4ECF-B8C9-AC4A36F9BA0C}" srcId="{6A2FEB62-94FD-4C24-8355-50688969AD4D}" destId="{BC019F87-FEDD-4F4C-9AAC-3B188DA21DC2}" srcOrd="1" destOrd="0" parTransId="{CBCFF85D-E938-4705-BC5E-B7AC61F66645}" sibTransId="{95A500F2-2618-421E-BD1B-46FCE74A7ED4}"/>
    <dgm:cxn modelId="{DA6163AB-6A74-4AAA-8763-2C50DEC2A875}" type="presOf" srcId="{BC019F87-FEDD-4F4C-9AAC-3B188DA21DC2}" destId="{9B99CBFE-938F-4BB1-92BB-6C5373694C26}" srcOrd="0" destOrd="1" presId="urn:microsoft.com/office/officeart/2005/8/layout/vList2"/>
    <dgm:cxn modelId="{6E1697AF-6C45-48E6-8B1B-90655E6E977E}" srcId="{6A2FEB62-94FD-4C24-8355-50688969AD4D}" destId="{339922CF-443F-4894-91FD-005CEC5C15F3}" srcOrd="0" destOrd="0" parTransId="{1C4CEA2A-F707-4385-A98A-125843945B9C}" sibTransId="{FF6CAB30-D0EC-4C7A-A43A-33DB7E2D4E71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5F6FCECA-5985-45D8-A00C-EF10F17A6324}" srcId="{2DD9BEDF-B9E2-4ABA-A056-FFA32216D3C8}" destId="{CA71CB90-A297-4D29-9F45-73FD8F00EE90}" srcOrd="2" destOrd="0" parTransId="{63D6E51F-9D5C-4FBB-9B37-D50D0231DF14}" sibTransId="{BD85D29B-333F-4797-A8FB-FED9F09A2820}"/>
    <dgm:cxn modelId="{C1EA34CF-BDC1-423E-8423-A4BC3DB57AB6}" type="presOf" srcId="{6A2FEB62-94FD-4C24-8355-50688969AD4D}" destId="{F0AF7A49-36F5-44C3-A7EB-8BC603A6B688}" srcOrd="0" destOrd="0" presId="urn:microsoft.com/office/officeart/2005/8/layout/vList2"/>
    <dgm:cxn modelId="{8D0C7BFB-D8D2-4F25-90E7-FBCDEA9C56C2}" type="presOf" srcId="{15B6BC13-8826-4134-BCEC-BDF9501CDD69}" destId="{A41D108A-C88D-499A-9A24-515F253DAB78}" srcOrd="0" destOrd="0" presId="urn:microsoft.com/office/officeart/2005/8/layout/vList2"/>
    <dgm:cxn modelId="{46DEFFFE-115F-4CF2-9993-8A53244F52BA}" srcId="{2DD9BEDF-B9E2-4ABA-A056-FFA32216D3C8}" destId="{15B6BC13-8826-4134-BCEC-BDF9501CDD69}" srcOrd="1" destOrd="0" parTransId="{84F4059D-917B-44AB-B3A8-2A28131ACB47}" sibTransId="{D9F02F5B-5DAC-4737-B236-5333316B2915}"/>
    <dgm:cxn modelId="{1924EF4A-155B-4076-AF17-4218A210CE8B}" type="presParOf" srcId="{2A2F781F-16C1-4D29-B08D-ACB557B90863}" destId="{F0AF7A49-36F5-44C3-A7EB-8BC603A6B688}" srcOrd="0" destOrd="0" presId="urn:microsoft.com/office/officeart/2005/8/layout/vList2"/>
    <dgm:cxn modelId="{DBF47470-6F20-4180-879B-C8F76416E1E8}" type="presParOf" srcId="{2A2F781F-16C1-4D29-B08D-ACB557B90863}" destId="{9B99CBFE-938F-4BB1-92BB-6C5373694C26}" srcOrd="1" destOrd="0" presId="urn:microsoft.com/office/officeart/2005/8/layout/vList2"/>
    <dgm:cxn modelId="{8812B156-55E6-4717-A667-DB000355EF7B}" type="presParOf" srcId="{2A2F781F-16C1-4D29-B08D-ACB557B90863}" destId="{A41D108A-C88D-499A-9A24-515F253DAB78}" srcOrd="2" destOrd="0" presId="urn:microsoft.com/office/officeart/2005/8/layout/vList2"/>
    <dgm:cxn modelId="{F7E21934-F49E-4C29-AF6E-C630B71B9410}" type="presParOf" srcId="{2A2F781F-16C1-4D29-B08D-ACB557B90863}" destId="{B2C485A3-7945-4988-AB1C-33A1E427F1B6}" srcOrd="3" destOrd="0" presId="urn:microsoft.com/office/officeart/2005/8/layout/vList2"/>
    <dgm:cxn modelId="{E56C13B7-3478-4F32-88EC-399D99AE1C5E}" type="presParOf" srcId="{2A2F781F-16C1-4D29-B08D-ACB557B90863}" destId="{18EACDC4-6BB6-46F6-8188-FD4A6A747C4A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Alleelit ovat saman geenin eri muotoj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Jotta uusi alleeli periytyy jälkeläiselle, sen tulee syntyä ituradan solussa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Jokaisella geenillä on tarkka paikka, lokus, tietyssä kromosomiss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Yksilön perimä muodostuu puolesta äidin alleeleja puolesta isän alleeleja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689DE7B-65B5-47F3-9706-D07C9DFBC777}">
      <dgm:prSet/>
      <dgm:spPr/>
      <dgm:t>
        <a:bodyPr/>
        <a:lstStyle/>
        <a:p>
          <a:r>
            <a:rPr lang="fi-FI" dirty="0"/>
            <a:t>yhdestä geenistä on siis aina kaksi vastinalleelia</a:t>
          </a:r>
        </a:p>
      </dgm:t>
    </dgm:pt>
    <dgm:pt modelId="{2CF4CFB5-EF8F-4430-A55A-A3CEF0A2853A}" type="parTrans" cxnId="{26242EA7-9489-4CB6-B14E-F4E6ED485A25}">
      <dgm:prSet/>
      <dgm:spPr/>
      <dgm:t>
        <a:bodyPr/>
        <a:lstStyle/>
        <a:p>
          <a:endParaRPr lang="fi-FI"/>
        </a:p>
      </dgm:t>
    </dgm:pt>
    <dgm:pt modelId="{640D60A4-A5D9-42D8-87DB-8C47B2F2B671}" type="sibTrans" cxnId="{26242EA7-9489-4CB6-B14E-F4E6ED485A25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64757CB6-AB8B-4B5B-8D7E-817339A95619}" type="pres">
      <dgm:prSet presAssocID="{909AA532-506D-4606-B4AA-A6C6B568EE38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9A86906-F248-4E1B-8131-5C70B27325FB}" type="presOf" srcId="{5689DE7B-65B5-47F3-9706-D07C9DFBC777}" destId="{64757CB6-AB8B-4B5B-8D7E-817339A95619}" srcOrd="0" destOrd="0" presId="urn:microsoft.com/office/officeart/2005/8/layout/vList2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26242EA7-9489-4CB6-B14E-F4E6ED485A25}" srcId="{909AA532-506D-4606-B4AA-A6C6B568EE38}" destId="{5689DE7B-65B5-47F3-9706-D07C9DFBC777}" srcOrd="0" destOrd="0" parTransId="{2CF4CFB5-EF8F-4430-A55A-A3CEF0A2853A}" sibTransId="{640D60A4-A5D9-42D8-87DB-8C47B2F2B671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5AF42795-600C-4419-8A35-6A44AC92D9BD}" type="presParOf" srcId="{C98BB3D8-F1F9-4980-A813-50F0C2AEBD98}" destId="{64757CB6-AB8B-4B5B-8D7E-817339A95619}" srcOrd="3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yksilöllä, jolla on kaksi samanlaista alleelia on homotsygoottinen</a:t>
          </a:r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EC008C"/>
        </a:solidFill>
      </dgm:spPr>
      <dgm:t>
        <a:bodyPr/>
        <a:lstStyle/>
        <a:p>
          <a:r>
            <a:rPr lang="fi-FI"/>
            <a:t>yksilöllä, jolla on kaksi erilaista alleelia on heterotsygoottinen</a:t>
          </a:r>
          <a:endParaRPr lang="fi-FI" dirty="0"/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12F608B6-41E2-40E2-9FA6-611316810BB4}">
      <dgm:prSet/>
      <dgm:spPr>
        <a:solidFill>
          <a:srgbClr val="EC008C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/>
            <a:t>dominoiva alleeli peittää resessiivisen alleelin vaikutuksen Vv</a:t>
          </a:r>
          <a:endParaRPr lang="fi-FI" dirty="0"/>
        </a:p>
      </dgm:t>
    </dgm:pt>
    <dgm:pt modelId="{43615E84-C10F-41AA-890C-DDBF0CBA4DAD}" type="sibTrans" cxnId="{CF923A3E-3621-488A-8303-D9A8794C17DD}">
      <dgm:prSet/>
      <dgm:spPr/>
      <dgm:t>
        <a:bodyPr/>
        <a:lstStyle/>
        <a:p>
          <a:endParaRPr lang="fi-FI"/>
        </a:p>
      </dgm:t>
    </dgm:pt>
    <dgm:pt modelId="{1603F303-3FA8-48C6-96DA-ED0EAA93A1AD}" type="parTrans" cxnId="{CF923A3E-3621-488A-8303-D9A8794C17DD}">
      <dgm:prSet/>
      <dgm:spPr/>
      <dgm:t>
        <a:bodyPr/>
        <a:lstStyle/>
        <a:p>
          <a:endParaRPr lang="fi-FI"/>
        </a:p>
      </dgm:t>
    </dgm:pt>
    <dgm:pt modelId="{352EBE15-98F2-48FA-AA91-620738926CB5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dominoivaa alleelia merkitään isolla kirjaimella esim. V</a:t>
          </a:r>
        </a:p>
      </dgm:t>
    </dgm:pt>
    <dgm:pt modelId="{DA950823-FFDC-4AA5-B88C-574FD834E60B}" type="sibTrans" cxnId="{6D2EA35F-2E1B-4A80-B4E8-8A8ABEA2A609}">
      <dgm:prSet/>
      <dgm:spPr/>
      <dgm:t>
        <a:bodyPr/>
        <a:lstStyle/>
        <a:p>
          <a:endParaRPr lang="fi-FI"/>
        </a:p>
      </dgm:t>
    </dgm:pt>
    <dgm:pt modelId="{866DE8EE-68A5-423F-9754-CED37EF21DD9}" type="parTrans" cxnId="{6D2EA35F-2E1B-4A80-B4E8-8A8ABEA2A609}">
      <dgm:prSet/>
      <dgm:spPr/>
      <dgm:t>
        <a:bodyPr/>
        <a:lstStyle/>
        <a:p>
          <a:endParaRPr lang="fi-FI"/>
        </a:p>
      </dgm:t>
    </dgm:pt>
    <dgm:pt modelId="{2133DABD-8162-4C8B-995D-BD3AFB416C02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resessiivinen alleeli ilmenee vain, jos se esiintyy kasinkertaisena esimerkiksi </a:t>
          </a:r>
          <a:r>
            <a:rPr lang="fi-FI" dirty="0" err="1"/>
            <a:t>vv</a:t>
          </a:r>
          <a:endParaRPr lang="fi-FI" dirty="0"/>
        </a:p>
      </dgm:t>
    </dgm:pt>
    <dgm:pt modelId="{1EBAD6D4-28F1-44FD-8855-06BCF05144A4}" type="parTrans" cxnId="{C716D0A6-C497-41CD-BA89-F26702187355}">
      <dgm:prSet/>
      <dgm:spPr/>
      <dgm:t>
        <a:bodyPr/>
        <a:lstStyle/>
        <a:p>
          <a:endParaRPr lang="fi-FI"/>
        </a:p>
      </dgm:t>
    </dgm:pt>
    <dgm:pt modelId="{CA847EDC-5DE4-45FD-8774-B58DFDD61875}" type="sibTrans" cxnId="{C716D0A6-C497-41CD-BA89-F26702187355}">
      <dgm:prSet/>
      <dgm:spPr/>
      <dgm:t>
        <a:bodyPr/>
        <a:lstStyle/>
        <a:p>
          <a:endParaRPr lang="fi-FI"/>
        </a:p>
      </dgm:t>
    </dgm:pt>
    <dgm:pt modelId="{0D78DE43-03E6-463B-9859-ADF7946F7DE7}">
      <dgm:prSet/>
      <dgm:spPr>
        <a:solidFill>
          <a:srgbClr val="EC008C"/>
        </a:solidFill>
      </dgm:spPr>
      <dgm:t>
        <a:bodyPr/>
        <a:lstStyle/>
        <a:p>
          <a:r>
            <a:rPr lang="fi-FI"/>
            <a:t>kaikki alleelit eivät ole dominoivia tai resessiivisiä</a:t>
          </a:r>
          <a:endParaRPr lang="fi-FI" dirty="0"/>
        </a:p>
      </dgm:t>
    </dgm:pt>
    <dgm:pt modelId="{9163C319-C2BD-4A5B-8F51-211845E25533}" type="parTrans" cxnId="{3CB2A425-01C2-467B-A7FC-08E03C67F7BB}">
      <dgm:prSet/>
      <dgm:spPr/>
      <dgm:t>
        <a:bodyPr/>
        <a:lstStyle/>
        <a:p>
          <a:endParaRPr lang="fi-FI"/>
        </a:p>
      </dgm:t>
    </dgm:pt>
    <dgm:pt modelId="{E25765EE-6928-4799-A174-5361DC843C27}" type="sibTrans" cxnId="{3CB2A425-01C2-467B-A7FC-08E03C67F7BB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E513468F-E65E-4E95-90F5-27712F62BD0D}" type="pres">
      <dgm:prSet presAssocID="{196BF26C-3554-42C7-B0EA-C5D0A1084313}" presName="spacer" presStyleCnt="0"/>
      <dgm:spPr/>
    </dgm:pt>
    <dgm:pt modelId="{70D20C35-AC64-4FD9-B736-FB68AD5A5A92}" type="pres">
      <dgm:prSet presAssocID="{FDDAD744-75E2-48EC-9072-1270246F6EB9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552168BC-A932-4897-A29E-E97175596181}" type="pres">
      <dgm:prSet presAssocID="{96BC85D9-A93A-49D1-BA65-70053D2CC89F}" presName="spacer" presStyleCnt="0"/>
      <dgm:spPr/>
    </dgm:pt>
    <dgm:pt modelId="{7D305730-1DA8-4BEB-B659-E57AF5F0F90B}" type="pres">
      <dgm:prSet presAssocID="{12F608B6-41E2-40E2-9FA6-611316810BB4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EAFCA5F3-6106-4416-8479-42930C864A02}" type="pres">
      <dgm:prSet presAssocID="{43615E84-C10F-41AA-890C-DDBF0CBA4DAD}" presName="spacer" presStyleCnt="0"/>
      <dgm:spPr/>
    </dgm:pt>
    <dgm:pt modelId="{B4F0054F-391A-4FA8-9A4F-B26CFAD89CCE}" type="pres">
      <dgm:prSet presAssocID="{352EBE15-98F2-48FA-AA91-620738926CB5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812BF172-AEC4-4944-82A7-035FB2A195EA}" type="pres">
      <dgm:prSet presAssocID="{DA950823-FFDC-4AA5-B88C-574FD834E60B}" presName="spacer" presStyleCnt="0"/>
      <dgm:spPr/>
    </dgm:pt>
    <dgm:pt modelId="{7D0C1422-7AF4-4B18-8D50-D1FE7F858C47}" type="pres">
      <dgm:prSet presAssocID="{2133DABD-8162-4C8B-995D-BD3AFB416C02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2503787F-E9F0-49BB-BAA9-1F597664F489}" type="pres">
      <dgm:prSet presAssocID="{CA847EDC-5DE4-45FD-8774-B58DFDD61875}" presName="spacer" presStyleCnt="0"/>
      <dgm:spPr/>
    </dgm:pt>
    <dgm:pt modelId="{DA3A4A5A-828E-4DB1-9FC6-F4089481B8D6}" type="pres">
      <dgm:prSet presAssocID="{0D78DE43-03E6-463B-9859-ADF7946F7DE7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BAFB310B-6300-41D2-8283-595FCE68A963}" type="presOf" srcId="{352EBE15-98F2-48FA-AA91-620738926CB5}" destId="{B4F0054F-391A-4FA8-9A4F-B26CFAD89CCE}" srcOrd="0" destOrd="0" presId="urn:microsoft.com/office/officeart/2005/8/layout/vList2"/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3CB2A425-01C2-467B-A7FC-08E03C67F7BB}" srcId="{2DD9BEDF-B9E2-4ABA-A056-FFA32216D3C8}" destId="{0D78DE43-03E6-463B-9859-ADF7946F7DE7}" srcOrd="5" destOrd="0" parTransId="{9163C319-C2BD-4A5B-8F51-211845E25533}" sibTransId="{E25765EE-6928-4799-A174-5361DC843C27}"/>
    <dgm:cxn modelId="{CF923A3E-3621-488A-8303-D9A8794C17DD}" srcId="{2DD9BEDF-B9E2-4ABA-A056-FFA32216D3C8}" destId="{12F608B6-41E2-40E2-9FA6-611316810BB4}" srcOrd="2" destOrd="0" parTransId="{1603F303-3FA8-48C6-96DA-ED0EAA93A1AD}" sibTransId="{43615E84-C10F-41AA-890C-DDBF0CBA4DAD}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6D2EA35F-2E1B-4A80-B4E8-8A8ABEA2A609}" srcId="{2DD9BEDF-B9E2-4ABA-A056-FFA32216D3C8}" destId="{352EBE15-98F2-48FA-AA91-620738926CB5}" srcOrd="3" destOrd="0" parTransId="{866DE8EE-68A5-423F-9754-CED37EF21DD9}" sibTransId="{DA950823-FFDC-4AA5-B88C-574FD834E60B}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9144968E-3617-4A22-87FB-5474C07C56CC}" type="presOf" srcId="{0D78DE43-03E6-463B-9859-ADF7946F7DE7}" destId="{DA3A4A5A-828E-4DB1-9FC6-F4089481B8D6}" srcOrd="0" destOrd="0" presId="urn:microsoft.com/office/officeart/2005/8/layout/vList2"/>
    <dgm:cxn modelId="{302AD89F-3C78-4D42-A3F8-FC2D10CA34ED}" type="presOf" srcId="{2133DABD-8162-4C8B-995D-BD3AFB416C02}" destId="{7D0C1422-7AF4-4B18-8D50-D1FE7F858C47}" srcOrd="0" destOrd="0" presId="urn:microsoft.com/office/officeart/2005/8/layout/vList2"/>
    <dgm:cxn modelId="{C716D0A6-C497-41CD-BA89-F26702187355}" srcId="{2DD9BEDF-B9E2-4ABA-A056-FFA32216D3C8}" destId="{2133DABD-8162-4C8B-995D-BD3AFB416C02}" srcOrd="4" destOrd="0" parTransId="{1EBAD6D4-28F1-44FD-8855-06BCF05144A4}" sibTransId="{CA847EDC-5DE4-45FD-8774-B58DFDD61875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D6D280F1-D72C-41FD-9F26-AEC1EAF65DA4}" type="presOf" srcId="{12F608B6-41E2-40E2-9FA6-611316810BB4}" destId="{7D305730-1DA8-4BEB-B659-E57AF5F0F90B}" srcOrd="0" destOrd="0" presId="urn:microsoft.com/office/officeart/2005/8/layout/vList2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814F4336-39D9-4B45-960A-F03EAD835174}" type="presParOf" srcId="{2A2F781F-16C1-4D29-B08D-ACB557B90863}" destId="{E513468F-E65E-4E95-90F5-27712F62BD0D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  <dgm:cxn modelId="{F65F2321-B742-4902-A809-E0DA5B7DC8D5}" type="presParOf" srcId="{2A2F781F-16C1-4D29-B08D-ACB557B90863}" destId="{552168BC-A932-4897-A29E-E97175596181}" srcOrd="3" destOrd="0" presId="urn:microsoft.com/office/officeart/2005/8/layout/vList2"/>
    <dgm:cxn modelId="{83AA6F6A-8F40-494D-82E3-79D669F5F767}" type="presParOf" srcId="{2A2F781F-16C1-4D29-B08D-ACB557B90863}" destId="{7D305730-1DA8-4BEB-B659-E57AF5F0F90B}" srcOrd="4" destOrd="0" presId="urn:microsoft.com/office/officeart/2005/8/layout/vList2"/>
    <dgm:cxn modelId="{965699D9-5CE4-4BB6-A380-C811BBA8CF8B}" type="presParOf" srcId="{2A2F781F-16C1-4D29-B08D-ACB557B90863}" destId="{EAFCA5F3-6106-4416-8479-42930C864A02}" srcOrd="5" destOrd="0" presId="urn:microsoft.com/office/officeart/2005/8/layout/vList2"/>
    <dgm:cxn modelId="{4CFD748F-AAC2-4062-8A11-624201FA89E7}" type="presParOf" srcId="{2A2F781F-16C1-4D29-B08D-ACB557B90863}" destId="{B4F0054F-391A-4FA8-9A4F-B26CFAD89CCE}" srcOrd="6" destOrd="0" presId="urn:microsoft.com/office/officeart/2005/8/layout/vList2"/>
    <dgm:cxn modelId="{8F7A857D-6C85-4451-BE9A-F6863A56D36E}" type="presParOf" srcId="{2A2F781F-16C1-4D29-B08D-ACB557B90863}" destId="{812BF172-AEC4-4944-82A7-035FB2A195EA}" srcOrd="7" destOrd="0" presId="urn:microsoft.com/office/officeart/2005/8/layout/vList2"/>
    <dgm:cxn modelId="{AF1BEF55-01A6-41E5-99E4-7A5067900C60}" type="presParOf" srcId="{2A2F781F-16C1-4D29-B08D-ACB557B90863}" destId="{7D0C1422-7AF4-4B18-8D50-D1FE7F858C47}" srcOrd="8" destOrd="0" presId="urn:microsoft.com/office/officeart/2005/8/layout/vList2"/>
    <dgm:cxn modelId="{212FAE79-ADB4-4080-A929-6E4540FEAA2E}" type="presParOf" srcId="{2A2F781F-16C1-4D29-B08D-ACB557B90863}" destId="{2503787F-E9F0-49BB-BAA9-1F597664F489}" srcOrd="9" destOrd="0" presId="urn:microsoft.com/office/officeart/2005/8/layout/vList2"/>
    <dgm:cxn modelId="{C9D4DC16-F596-47D7-8CBB-0CA1332FFF79}" type="presParOf" srcId="{2A2F781F-16C1-4D29-B08D-ACB557B90863}" destId="{DA3A4A5A-828E-4DB1-9FC6-F4089481B8D6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Monohybridiristeytyksessä tutkitaan yhden alleeliparin periytymistä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keskeiset löydökset: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689DE7B-65B5-47F3-9706-D07C9DFBC777}">
      <dgm:prSet/>
      <dgm:spPr/>
      <dgm:t>
        <a:bodyPr/>
        <a:lstStyle/>
        <a:p>
          <a:r>
            <a:rPr lang="fi-FI" dirty="0"/>
            <a:t>valkokukkaiset herneet tuottavat vain valkokukkaisia jälkeläisiä</a:t>
          </a:r>
        </a:p>
      </dgm:t>
    </dgm:pt>
    <dgm:pt modelId="{2CF4CFB5-EF8F-4430-A55A-A3CEF0A2853A}" type="parTrans" cxnId="{26242EA7-9489-4CB6-B14E-F4E6ED485A25}">
      <dgm:prSet/>
      <dgm:spPr/>
      <dgm:t>
        <a:bodyPr/>
        <a:lstStyle/>
        <a:p>
          <a:endParaRPr lang="fi-FI"/>
        </a:p>
      </dgm:t>
    </dgm:pt>
    <dgm:pt modelId="{640D60A4-A5D9-42D8-87DB-8C47B2F2B671}" type="sibTrans" cxnId="{26242EA7-9489-4CB6-B14E-F4E6ED485A25}">
      <dgm:prSet/>
      <dgm:spPr/>
      <dgm:t>
        <a:bodyPr/>
        <a:lstStyle/>
        <a:p>
          <a:endParaRPr lang="fi-FI"/>
        </a:p>
      </dgm:t>
    </dgm:pt>
    <dgm:pt modelId="{98719482-4C72-4B8D-9F2F-5BFD1E9C5404}">
      <dgm:prSet/>
      <dgm:spPr/>
      <dgm:t>
        <a:bodyPr/>
        <a:lstStyle/>
        <a:p>
          <a:r>
            <a:rPr lang="fi-FI" dirty="0"/>
            <a:t>Puhtaan linjan violettikukkaiset herneet tuottavat vain violettikukkaisia jälkeläisiä</a:t>
          </a:r>
        </a:p>
      </dgm:t>
    </dgm:pt>
    <dgm:pt modelId="{0C8A995E-9166-413E-941A-CCF29DC71925}" type="parTrans" cxnId="{BADA65A1-19D1-4AB7-99BA-4058F4506EAD}">
      <dgm:prSet/>
      <dgm:spPr/>
      <dgm:t>
        <a:bodyPr/>
        <a:lstStyle/>
        <a:p>
          <a:endParaRPr lang="fi-FI"/>
        </a:p>
      </dgm:t>
    </dgm:pt>
    <dgm:pt modelId="{055C3509-B9BE-4A85-A35E-1C00EE1C5EA6}" type="sibTrans" cxnId="{BADA65A1-19D1-4AB7-99BA-4058F4506EAD}">
      <dgm:prSet/>
      <dgm:spPr/>
      <dgm:t>
        <a:bodyPr/>
        <a:lstStyle/>
        <a:p>
          <a:endParaRPr lang="fi-FI"/>
        </a:p>
      </dgm:t>
    </dgm:pt>
    <dgm:pt modelId="{D33A8DDF-BD8C-4C34-BFD8-99D36A42C5AB}">
      <dgm:prSet/>
      <dgm:spPr/>
      <dgm:t>
        <a:bodyPr/>
        <a:lstStyle/>
        <a:p>
          <a:r>
            <a:rPr lang="fi-FI" dirty="0"/>
            <a:t>valkokukkaisten kanssa sekaisin kasvaneet violettikukkaiset herneet saivat risteytettäessä sekä violetti- että valkokukkaisia jälkeläisiä</a:t>
          </a:r>
        </a:p>
      </dgm:t>
    </dgm:pt>
    <dgm:pt modelId="{4B29C4E1-1991-413C-988C-340C40B13F43}" type="parTrans" cxnId="{69CD8B6D-8040-44AC-A41B-EC939BB3F93F}">
      <dgm:prSet/>
      <dgm:spPr/>
      <dgm:t>
        <a:bodyPr/>
        <a:lstStyle/>
        <a:p>
          <a:endParaRPr lang="fi-FI"/>
        </a:p>
      </dgm:t>
    </dgm:pt>
    <dgm:pt modelId="{EFC94BFB-ABD4-4B50-A89C-1ADE831A1289}" type="sibTrans" cxnId="{69CD8B6D-8040-44AC-A41B-EC939BB3F93F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64757CB6-AB8B-4B5B-8D7E-817339A95619}" type="pres">
      <dgm:prSet presAssocID="{909AA532-506D-4606-B4AA-A6C6B568EE38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9A86906-F248-4E1B-8131-5C70B27325FB}" type="presOf" srcId="{5689DE7B-65B5-47F3-9706-D07C9DFBC777}" destId="{64757CB6-AB8B-4B5B-8D7E-817339A95619}" srcOrd="0" destOrd="0" presId="urn:microsoft.com/office/officeart/2005/8/layout/vList2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6494134C-7453-4E88-92B5-69F42F272ABD}" type="presOf" srcId="{D33A8DDF-BD8C-4C34-BFD8-99D36A42C5AB}" destId="{64757CB6-AB8B-4B5B-8D7E-817339A95619}" srcOrd="0" destOrd="2" presId="urn:microsoft.com/office/officeart/2005/8/layout/vList2"/>
    <dgm:cxn modelId="{69CD8B6D-8040-44AC-A41B-EC939BB3F93F}" srcId="{909AA532-506D-4606-B4AA-A6C6B568EE38}" destId="{D33A8DDF-BD8C-4C34-BFD8-99D36A42C5AB}" srcOrd="2" destOrd="0" parTransId="{4B29C4E1-1991-413C-988C-340C40B13F43}" sibTransId="{EFC94BFB-ABD4-4B50-A89C-1ADE831A1289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BADA65A1-19D1-4AB7-99BA-4058F4506EAD}" srcId="{909AA532-506D-4606-B4AA-A6C6B568EE38}" destId="{98719482-4C72-4B8D-9F2F-5BFD1E9C5404}" srcOrd="1" destOrd="0" parTransId="{0C8A995E-9166-413E-941A-CCF29DC71925}" sibTransId="{055C3509-B9BE-4A85-A35E-1C00EE1C5EA6}"/>
    <dgm:cxn modelId="{26242EA7-9489-4CB6-B14E-F4E6ED485A25}" srcId="{909AA532-506D-4606-B4AA-A6C6B568EE38}" destId="{5689DE7B-65B5-47F3-9706-D07C9DFBC777}" srcOrd="0" destOrd="0" parTransId="{2CF4CFB5-EF8F-4430-A55A-A3CEF0A2853A}" sibTransId="{640D60A4-A5D9-42D8-87DB-8C47B2F2B671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5629BAE2-3171-4BD1-85DC-4AC4225B14A8}" type="presOf" srcId="{98719482-4C72-4B8D-9F2F-5BFD1E9C5404}" destId="{64757CB6-AB8B-4B5B-8D7E-817339A95619}" srcOrd="0" destOrd="1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5AF42795-600C-4419-8A35-6A44AC92D9BD}" type="presParOf" srcId="{C98BB3D8-F1F9-4980-A813-50F0C2AEBD98}" destId="{64757CB6-AB8B-4B5B-8D7E-817339A95619}" srcOrd="3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un yhdestä geenistä on useampi kuin kaksi alleelia, puhutaan multippeleista alleeleista</a:t>
          </a:r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Multippelit alleelit ovat yleisiä </a:t>
          </a:r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1FB72BA2-8187-4EF2-AFFC-74272B4A21ED}">
      <dgm:prSet/>
      <dgm:spPr>
        <a:noFill/>
      </dgm:spPr>
      <dgm:t>
        <a:bodyPr/>
        <a:lstStyle/>
        <a:p>
          <a:endParaRPr lang="fi-FI" dirty="0"/>
        </a:p>
      </dgm:t>
    </dgm:pt>
    <dgm:pt modelId="{780A4F27-010C-4A9B-B3BD-44DA5016832C}" type="parTrans" cxnId="{4646CD9E-8992-42B5-8F6C-904AAD95BAF9}">
      <dgm:prSet/>
      <dgm:spPr/>
      <dgm:t>
        <a:bodyPr/>
        <a:lstStyle/>
        <a:p>
          <a:endParaRPr lang="fi-FI"/>
        </a:p>
      </dgm:t>
    </dgm:pt>
    <dgm:pt modelId="{1BB6ECE2-B96C-43D8-8F7F-14F779326EF8}" type="sibTrans" cxnId="{4646CD9E-8992-42B5-8F6C-904AAD95BAF9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CC55F207-697D-4A0C-A824-2A65612FC5E6}" type="pres">
      <dgm:prSet presAssocID="{6191DB02-BDC9-4F40-9296-F0AD3BB2C6D9}" presName="childText" presStyleLbl="revTx" presStyleIdx="0" presStyleCnt="1">
        <dgm:presLayoutVars>
          <dgm:bulletEnabled val="1"/>
        </dgm:presLayoutVars>
      </dgm:prSet>
      <dgm:spPr/>
    </dgm:pt>
    <dgm:pt modelId="{70D20C35-AC64-4FD9-B736-FB68AD5A5A92}" type="pres">
      <dgm:prSet presAssocID="{FDDAD744-75E2-48EC-9072-1270246F6EB9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2921B300-B1DF-4476-A699-0BEA085C854E}" type="presOf" srcId="{1FB72BA2-8187-4EF2-AFFC-74272B4A21ED}" destId="{CC55F207-697D-4A0C-A824-2A65612FC5E6}" srcOrd="0" destOrd="0" presId="urn:microsoft.com/office/officeart/2005/8/layout/vList2"/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4646CD9E-8992-42B5-8F6C-904AAD95BAF9}" srcId="{6191DB02-BDC9-4F40-9296-F0AD3BB2C6D9}" destId="{1FB72BA2-8187-4EF2-AFFC-74272B4A21ED}" srcOrd="0" destOrd="0" parTransId="{780A4F27-010C-4A9B-B3BD-44DA5016832C}" sibTransId="{1BB6ECE2-B96C-43D8-8F7F-14F779326EF8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725C85FE-6E1F-4C68-AF6F-C74EC46E7249}" type="presParOf" srcId="{2A2F781F-16C1-4D29-B08D-ACB557B90863}" destId="{CC55F207-697D-4A0C-A824-2A65612FC5E6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Välimuotoisessa periytymisessä kummankin alleelin vaikutus näkyy samanaikaisesti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/>
            <a:t>Yhteisvallitsevassa periytymisessä kumpikin alleeli vaikuttaa itsenäisesti esimerkiksi veriryhmä AB</a:t>
          </a:r>
          <a:endParaRPr lang="fi-FI" dirty="0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F41743D4-E51B-437D-ABB9-12F93F86469E}">
      <dgm:prSet/>
      <dgm:spPr/>
      <dgm:t>
        <a:bodyPr/>
        <a:lstStyle/>
        <a:p>
          <a:r>
            <a:rPr lang="fi-FI" dirty="0"/>
            <a:t>toinen alleeli ei dominoi toista</a:t>
          </a:r>
        </a:p>
      </dgm:t>
    </dgm:pt>
    <dgm:pt modelId="{0F8411E1-01C1-4482-A534-612DF8FAAAA1}" type="parTrans" cxnId="{F084C942-8468-44AF-B98C-519DB2326556}">
      <dgm:prSet/>
      <dgm:spPr/>
      <dgm:t>
        <a:bodyPr/>
        <a:lstStyle/>
        <a:p>
          <a:endParaRPr lang="fi-FI"/>
        </a:p>
      </dgm:t>
    </dgm:pt>
    <dgm:pt modelId="{43291AFC-E9B4-423C-9B07-7EE2A8D97F5B}" type="sibTrans" cxnId="{F084C942-8468-44AF-B98C-519DB2326556}">
      <dgm:prSet/>
      <dgm:spPr/>
      <dgm:t>
        <a:bodyPr/>
        <a:lstStyle/>
        <a:p>
          <a:endParaRPr lang="fi-FI"/>
        </a:p>
      </dgm:t>
    </dgm:pt>
    <dgm:pt modelId="{79F94103-244A-4CB2-8731-A60C52D7CF45}">
      <dgm:prSet/>
      <dgm:spPr/>
      <dgm:t>
        <a:bodyPr/>
        <a:lstStyle/>
        <a:p>
          <a:endParaRPr lang="fi-FI" dirty="0"/>
        </a:p>
      </dgm:t>
    </dgm:pt>
    <dgm:pt modelId="{6DC1AF22-2E67-4657-A956-16BFAEC390A2}" type="parTrans" cxnId="{2C249C11-CB5B-41CE-911E-DB167BC52DF4}">
      <dgm:prSet/>
      <dgm:spPr/>
      <dgm:t>
        <a:bodyPr/>
        <a:lstStyle/>
        <a:p>
          <a:endParaRPr lang="fi-FI"/>
        </a:p>
      </dgm:t>
    </dgm:pt>
    <dgm:pt modelId="{7AFE5CC3-5B08-4DAF-82E2-3A26BFA58490}" type="sibTrans" cxnId="{2C249C11-CB5B-41CE-911E-DB167BC52DF4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ED88325-4F96-4D30-BA0B-EF9078B5BEFA}" type="pres">
      <dgm:prSet presAssocID="{7BC353A9-2E9A-4B42-B9DF-3904A72B6A0E}" presName="childText" presStyleLbl="revTx" presStyleIdx="0" presStyleCnt="1">
        <dgm:presLayoutVars>
          <dgm:bulletEnabled val="1"/>
        </dgm:presLayoutVars>
      </dgm:prSet>
      <dgm:spPr/>
    </dgm:pt>
    <dgm:pt modelId="{BFD4EF96-1CE6-49E4-A2C5-AD9722D55C76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2C249C11-CB5B-41CE-911E-DB167BC52DF4}" srcId="{7BC353A9-2E9A-4B42-B9DF-3904A72B6A0E}" destId="{79F94103-244A-4CB2-8731-A60C52D7CF45}" srcOrd="1" destOrd="0" parTransId="{6DC1AF22-2E67-4657-A956-16BFAEC390A2}" sibTransId="{7AFE5CC3-5B08-4DAF-82E2-3A26BFA58490}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F084C942-8468-44AF-B98C-519DB2326556}" srcId="{7BC353A9-2E9A-4B42-B9DF-3904A72B6A0E}" destId="{F41743D4-E51B-437D-ABB9-12F93F86469E}" srcOrd="0" destOrd="0" parTransId="{0F8411E1-01C1-4482-A534-612DF8FAAAA1}" sibTransId="{43291AFC-E9B4-423C-9B07-7EE2A8D97F5B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D7C16253-30DD-4BED-A9A7-0A74AA7E5D8F}" type="presOf" srcId="{F41743D4-E51B-437D-ABB9-12F93F86469E}" destId="{4ED88325-4F96-4D30-BA0B-EF9078B5BEFA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FCFCBEA6-02D0-446A-9203-8E425D640822}" type="presOf" srcId="{79F94103-244A-4CB2-8731-A60C52D7CF45}" destId="{4ED88325-4F96-4D30-BA0B-EF9078B5BEFA}" srcOrd="0" destOrd="1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75CB981D-4C4D-48FB-8C02-3F4B11728917}" type="presParOf" srcId="{C98BB3D8-F1F9-4980-A813-50F0C2AEBD98}" destId="{4ED88325-4F96-4D30-BA0B-EF9078B5BEFA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Tiettyjä alleeleja tavataan vain heterotsygoottisilla yksilöillä</a:t>
          </a:r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Nämä alleelit aiheuttavat homotsygoottisina kuoleman yleensä jo sikiövaiheessa</a:t>
          </a:r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3CA9C089-352D-41A0-AFF3-3430A6040091}">
      <dgm:prSet/>
      <dgm:spPr/>
      <dgm:t>
        <a:bodyPr/>
        <a:lstStyle/>
        <a:p>
          <a:endParaRPr lang="fi-FI" dirty="0"/>
        </a:p>
      </dgm:t>
    </dgm:pt>
    <dgm:pt modelId="{D3CC625F-4BC0-4939-8381-6DE40298A0C7}" type="parTrans" cxnId="{DACC5D88-CD5F-435C-A8FE-F675FF224EC6}">
      <dgm:prSet/>
      <dgm:spPr/>
      <dgm:t>
        <a:bodyPr/>
        <a:lstStyle/>
        <a:p>
          <a:endParaRPr lang="fi-FI"/>
        </a:p>
      </dgm:t>
    </dgm:pt>
    <dgm:pt modelId="{4B6CB8F1-A166-43CE-BC83-30B05FA86930}" type="sibTrans" cxnId="{DACC5D88-CD5F-435C-A8FE-F675FF224EC6}">
      <dgm:prSet/>
      <dgm:spPr/>
      <dgm:t>
        <a:bodyPr/>
        <a:lstStyle/>
        <a:p>
          <a:endParaRPr lang="fi-FI"/>
        </a:p>
      </dgm:t>
    </dgm:pt>
    <dgm:pt modelId="{12F608B6-41E2-40E2-9FA6-611316810BB4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/>
            <a:t>Tällaisia homotsygoottisina tappavia alleeleja kutsutaan letaalialleeleiksi</a:t>
          </a:r>
        </a:p>
      </dgm:t>
    </dgm:pt>
    <dgm:pt modelId="{1603F303-3FA8-48C6-96DA-ED0EAA93A1AD}" type="parTrans" cxnId="{CF923A3E-3621-488A-8303-D9A8794C17DD}">
      <dgm:prSet/>
      <dgm:spPr/>
      <dgm:t>
        <a:bodyPr/>
        <a:lstStyle/>
        <a:p>
          <a:endParaRPr lang="fi-FI"/>
        </a:p>
      </dgm:t>
    </dgm:pt>
    <dgm:pt modelId="{43615E84-C10F-41AA-890C-DDBF0CBA4DAD}" type="sibTrans" cxnId="{CF923A3E-3621-488A-8303-D9A8794C17DD}">
      <dgm:prSet/>
      <dgm:spPr/>
      <dgm:t>
        <a:bodyPr/>
        <a:lstStyle/>
        <a:p>
          <a:endParaRPr lang="fi-FI"/>
        </a:p>
      </dgm:t>
    </dgm:pt>
    <dgm:pt modelId="{51B4CEDF-1C09-4259-A726-B1DDD78EF02A}">
      <dgm:prSet/>
      <dgm:spPr>
        <a:noFill/>
      </dgm:spPr>
      <dgm:t>
        <a:bodyPr/>
        <a:lstStyle/>
        <a:p>
          <a:pPr>
            <a:buFont typeface="Arial" charset="0"/>
            <a:buChar char="•"/>
          </a:pPr>
          <a:endParaRPr lang="fi-FI" dirty="0"/>
        </a:p>
      </dgm:t>
    </dgm:pt>
    <dgm:pt modelId="{272697C1-D03A-4CE9-A24A-F7F83FA14CFD}" type="parTrans" cxnId="{BBDA742F-1940-4566-9E6A-5006AC05F150}">
      <dgm:prSet/>
      <dgm:spPr/>
      <dgm:t>
        <a:bodyPr/>
        <a:lstStyle/>
        <a:p>
          <a:endParaRPr lang="fi-FI"/>
        </a:p>
      </dgm:t>
    </dgm:pt>
    <dgm:pt modelId="{D8F4FF59-28DE-4955-80D5-C47BC2CD733D}" type="sibTrans" cxnId="{BBDA742F-1940-4566-9E6A-5006AC05F150}">
      <dgm:prSet/>
      <dgm:spPr/>
      <dgm:t>
        <a:bodyPr/>
        <a:lstStyle/>
        <a:p>
          <a:endParaRPr lang="fi-FI"/>
        </a:p>
      </dgm:t>
    </dgm:pt>
    <dgm:pt modelId="{C4936800-631E-4289-810B-A65DA2A6C46A}">
      <dgm:prSet/>
      <dgm:spPr/>
      <dgm:t>
        <a:bodyPr/>
        <a:lstStyle/>
        <a:p>
          <a:endParaRPr lang="fi-FI" dirty="0"/>
        </a:p>
      </dgm:t>
    </dgm:pt>
    <dgm:pt modelId="{8CCA3A09-C1A6-4632-850D-81B3E04CFC76}" type="parTrans" cxnId="{0563DAA7-F310-4CD8-A100-59AB7881E80F}">
      <dgm:prSet/>
      <dgm:spPr/>
      <dgm:t>
        <a:bodyPr/>
        <a:lstStyle/>
        <a:p>
          <a:endParaRPr lang="fi-FI"/>
        </a:p>
      </dgm:t>
    </dgm:pt>
    <dgm:pt modelId="{5BF1747A-7581-47E7-B2F5-4FB3EBCA5AD1}" type="sibTrans" cxnId="{0563DAA7-F310-4CD8-A100-59AB7881E80F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A7433A9-AD7E-447A-BD6E-7EE09B7CC41D}" type="pres">
      <dgm:prSet presAssocID="{6191DB02-BDC9-4F40-9296-F0AD3BB2C6D9}" presName="childText" presStyleLbl="revTx" presStyleIdx="0" presStyleCnt="3">
        <dgm:presLayoutVars>
          <dgm:bulletEnabled val="1"/>
        </dgm:presLayoutVars>
      </dgm:prSet>
      <dgm:spPr/>
    </dgm:pt>
    <dgm:pt modelId="{70D20C35-AC64-4FD9-B736-FB68AD5A5A92}" type="pres">
      <dgm:prSet presAssocID="{FDDAD744-75E2-48EC-9072-1270246F6EB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E8D784E-0557-4241-93B9-7D45F47B65AE}" type="pres">
      <dgm:prSet presAssocID="{FDDAD744-75E2-48EC-9072-1270246F6EB9}" presName="childText" presStyleLbl="revTx" presStyleIdx="1" presStyleCnt="3">
        <dgm:presLayoutVars>
          <dgm:bulletEnabled val="1"/>
        </dgm:presLayoutVars>
      </dgm:prSet>
      <dgm:spPr/>
    </dgm:pt>
    <dgm:pt modelId="{7D305730-1DA8-4BEB-B659-E57AF5F0F90B}" type="pres">
      <dgm:prSet presAssocID="{12F608B6-41E2-40E2-9FA6-611316810BB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7645254-E134-4E95-B777-B945C532F26C}" type="pres">
      <dgm:prSet presAssocID="{12F608B6-41E2-40E2-9FA6-611316810BB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BBDA742F-1940-4566-9E6A-5006AC05F150}" srcId="{12F608B6-41E2-40E2-9FA6-611316810BB4}" destId="{51B4CEDF-1C09-4259-A726-B1DDD78EF02A}" srcOrd="0" destOrd="0" parTransId="{272697C1-D03A-4CE9-A24A-F7F83FA14CFD}" sibTransId="{D8F4FF59-28DE-4955-80D5-C47BC2CD733D}"/>
    <dgm:cxn modelId="{CF923A3E-3621-488A-8303-D9A8794C17DD}" srcId="{2DD9BEDF-B9E2-4ABA-A056-FFA32216D3C8}" destId="{12F608B6-41E2-40E2-9FA6-611316810BB4}" srcOrd="2" destOrd="0" parTransId="{1603F303-3FA8-48C6-96DA-ED0EAA93A1AD}" sibTransId="{43615E84-C10F-41AA-890C-DDBF0CBA4DAD}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EEAF856E-D494-4C75-B60F-C3EF4BEE7FB0}" type="presOf" srcId="{3CA9C089-352D-41A0-AFF3-3430A6040091}" destId="{0E8D784E-0557-4241-93B9-7D45F47B65AE}" srcOrd="0" destOrd="0" presId="urn:microsoft.com/office/officeart/2005/8/layout/vList2"/>
    <dgm:cxn modelId="{DACC5D88-CD5F-435C-A8FE-F675FF224EC6}" srcId="{FDDAD744-75E2-48EC-9072-1270246F6EB9}" destId="{3CA9C089-352D-41A0-AFF3-3430A6040091}" srcOrd="0" destOrd="0" parTransId="{D3CC625F-4BC0-4939-8381-6DE40298A0C7}" sibTransId="{4B6CB8F1-A166-43CE-BC83-30B05FA86930}"/>
    <dgm:cxn modelId="{7F9DEF8C-F395-4180-BF18-31D2F06B1D46}" type="presOf" srcId="{51B4CEDF-1C09-4259-A726-B1DDD78EF02A}" destId="{77645254-E134-4E95-B777-B945C532F26C}" srcOrd="0" destOrd="0" presId="urn:microsoft.com/office/officeart/2005/8/layout/vList2"/>
    <dgm:cxn modelId="{0563DAA7-F310-4CD8-A100-59AB7881E80F}" srcId="{6191DB02-BDC9-4F40-9296-F0AD3BB2C6D9}" destId="{C4936800-631E-4289-810B-A65DA2A6C46A}" srcOrd="0" destOrd="0" parTransId="{8CCA3A09-C1A6-4632-850D-81B3E04CFC76}" sibTransId="{5BF1747A-7581-47E7-B2F5-4FB3EBCA5AD1}"/>
    <dgm:cxn modelId="{93B23AAA-49DF-4990-A6E8-553702789101}" type="presOf" srcId="{C4936800-631E-4289-810B-A65DA2A6C46A}" destId="{2A7433A9-AD7E-447A-BD6E-7EE09B7CC41D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D6D280F1-D72C-41FD-9F26-AEC1EAF65DA4}" type="presOf" srcId="{12F608B6-41E2-40E2-9FA6-611316810BB4}" destId="{7D305730-1DA8-4BEB-B659-E57AF5F0F90B}" srcOrd="0" destOrd="0" presId="urn:microsoft.com/office/officeart/2005/8/layout/vList2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FD52A912-934F-4448-8B29-DD303E526CFB}" type="presParOf" srcId="{2A2F781F-16C1-4D29-B08D-ACB557B90863}" destId="{2A7433A9-AD7E-447A-BD6E-7EE09B7CC41D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  <dgm:cxn modelId="{2AAFC7D8-E04B-47B6-9C8D-65423F4FBC8A}" type="presParOf" srcId="{2A2F781F-16C1-4D29-B08D-ACB557B90863}" destId="{0E8D784E-0557-4241-93B9-7D45F47B65AE}" srcOrd="3" destOrd="0" presId="urn:microsoft.com/office/officeart/2005/8/layout/vList2"/>
    <dgm:cxn modelId="{83AA6F6A-8F40-494D-82E3-79D669F5F767}" type="presParOf" srcId="{2A2F781F-16C1-4D29-B08D-ACB557B90863}" destId="{7D305730-1DA8-4BEB-B659-E57AF5F0F90B}" srcOrd="4" destOrd="0" presId="urn:microsoft.com/office/officeart/2005/8/layout/vList2"/>
    <dgm:cxn modelId="{5B3A8057-601C-4C2C-B5E3-5873700280C8}" type="presParOf" srcId="{2A2F781F-16C1-4D29-B08D-ACB557B90863}" destId="{77645254-E134-4E95-B777-B945C532F2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AF7A49-36F5-44C3-A7EB-8BC603A6B688}">
      <dsp:nvSpPr>
        <dsp:cNvPr id="0" name=""/>
        <dsp:cNvSpPr/>
      </dsp:nvSpPr>
      <dsp:spPr>
        <a:xfrm>
          <a:off x="0" y="26986"/>
          <a:ext cx="10515600" cy="79450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Genotyyppi tarkoittaa yksilön perimää</a:t>
          </a:r>
        </a:p>
      </dsp:txBody>
      <dsp:txXfrm>
        <a:off x="38784" y="65770"/>
        <a:ext cx="10438032" cy="716935"/>
      </dsp:txXfrm>
    </dsp:sp>
    <dsp:sp modelId="{9B99CBFE-938F-4BB1-92BB-6C5373694C26}">
      <dsp:nvSpPr>
        <dsp:cNvPr id="0" name=""/>
        <dsp:cNvSpPr/>
      </dsp:nvSpPr>
      <dsp:spPr>
        <a:xfrm>
          <a:off x="0" y="821489"/>
          <a:ext cx="10515600" cy="54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yksittäisiä mutaatioita lukuun ottamatta pysyvä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821489"/>
        <a:ext cx="10515600" cy="548550"/>
      </dsp:txXfrm>
    </dsp:sp>
    <dsp:sp modelId="{A41D108A-C88D-499A-9A24-515F253DAB78}">
      <dsp:nvSpPr>
        <dsp:cNvPr id="0" name=""/>
        <dsp:cNvSpPr/>
      </dsp:nvSpPr>
      <dsp:spPr>
        <a:xfrm>
          <a:off x="0" y="1370039"/>
          <a:ext cx="10515600" cy="79450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Fenotyyppi tarkoittaa perimän ja ympäristön määräämää yksilön ilmiasua</a:t>
          </a:r>
        </a:p>
      </dsp:txBody>
      <dsp:txXfrm>
        <a:off x="38784" y="1408823"/>
        <a:ext cx="10438032" cy="716935"/>
      </dsp:txXfrm>
    </dsp:sp>
    <dsp:sp modelId="{18EACDC4-6BB6-46F6-8188-FD4A6A747C4A}">
      <dsp:nvSpPr>
        <dsp:cNvPr id="0" name=""/>
        <dsp:cNvSpPr/>
      </dsp:nvSpPr>
      <dsp:spPr>
        <a:xfrm>
          <a:off x="0" y="2222143"/>
          <a:ext cx="10515600" cy="79450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000" kern="1200" dirty="0" err="1"/>
            <a:t>Muovautumismuutelu</a:t>
          </a:r>
          <a:r>
            <a:rPr lang="fi-FI" sz="2000" kern="1200" dirty="0"/>
            <a:t> tarkoittaa yksilön fenotyypin muuttumista ympäristön mukaan perimän asettamissa rajoissa</a:t>
          </a:r>
        </a:p>
      </dsp:txBody>
      <dsp:txXfrm>
        <a:off x="38784" y="2260927"/>
        <a:ext cx="10438032" cy="7169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423822"/>
          <a:ext cx="3404008" cy="1342574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Alleelit ovat saman geenin eri muotoja</a:t>
          </a:r>
          <a:endParaRPr lang="en-US" sz="2400" kern="1200" dirty="0"/>
        </a:p>
      </dsp:txBody>
      <dsp:txXfrm>
        <a:off x="65539" y="489361"/>
        <a:ext cx="3272930" cy="1211496"/>
      </dsp:txXfrm>
    </dsp:sp>
    <dsp:sp modelId="{BFD4EF96-1CE6-49E4-A2C5-AD9722D55C76}">
      <dsp:nvSpPr>
        <dsp:cNvPr id="0" name=""/>
        <dsp:cNvSpPr/>
      </dsp:nvSpPr>
      <dsp:spPr>
        <a:xfrm>
          <a:off x="0" y="1835517"/>
          <a:ext cx="3404008" cy="1342574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Jotta uusi alleeli periytyy jälkeläiselle, sen tulee syntyä ituradan solussa</a:t>
          </a:r>
        </a:p>
      </dsp:txBody>
      <dsp:txXfrm>
        <a:off x="65539" y="1901056"/>
        <a:ext cx="3272930" cy="12114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73238"/>
          <a:ext cx="3822132" cy="137475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Jokaisella geenillä on tarkka paikka, lokus, tietyssä kromosomissa</a:t>
          </a:r>
          <a:endParaRPr lang="en-US" sz="2500" kern="1200" dirty="0"/>
        </a:p>
      </dsp:txBody>
      <dsp:txXfrm>
        <a:off x="67110" y="140348"/>
        <a:ext cx="3687912" cy="1240530"/>
      </dsp:txXfrm>
    </dsp:sp>
    <dsp:sp modelId="{BFD4EF96-1CE6-49E4-A2C5-AD9722D55C76}">
      <dsp:nvSpPr>
        <dsp:cNvPr id="0" name=""/>
        <dsp:cNvSpPr/>
      </dsp:nvSpPr>
      <dsp:spPr>
        <a:xfrm>
          <a:off x="0" y="1519988"/>
          <a:ext cx="3822132" cy="137475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Yksilön perimä muodostuu puolesta äidin alleeleja puolesta isän alleeleja</a:t>
          </a:r>
        </a:p>
      </dsp:txBody>
      <dsp:txXfrm>
        <a:off x="67110" y="1587098"/>
        <a:ext cx="3687912" cy="1240530"/>
      </dsp:txXfrm>
    </dsp:sp>
    <dsp:sp modelId="{64757CB6-AB8B-4B5B-8D7E-817339A95619}">
      <dsp:nvSpPr>
        <dsp:cNvPr id="0" name=""/>
        <dsp:cNvSpPr/>
      </dsp:nvSpPr>
      <dsp:spPr>
        <a:xfrm>
          <a:off x="0" y="2894738"/>
          <a:ext cx="3822132" cy="633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35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yhdestä geenistä on siis aina kaksi vastinalleelia</a:t>
          </a:r>
        </a:p>
      </dsp:txBody>
      <dsp:txXfrm>
        <a:off x="0" y="2894738"/>
        <a:ext cx="3822132" cy="6339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22138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yksilöllä, jolla on kaksi samanlaista alleelia on homotsygoottinen</a:t>
          </a:r>
        </a:p>
      </dsp:txBody>
      <dsp:txXfrm>
        <a:off x="28100" y="249488"/>
        <a:ext cx="9883528" cy="519439"/>
      </dsp:txXfrm>
    </dsp:sp>
    <dsp:sp modelId="{70D20C35-AC64-4FD9-B736-FB68AD5A5A92}">
      <dsp:nvSpPr>
        <dsp:cNvPr id="0" name=""/>
        <dsp:cNvSpPr/>
      </dsp:nvSpPr>
      <dsp:spPr>
        <a:xfrm>
          <a:off x="0" y="86614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/>
            <a:t>yksilöllä, jolla on kaksi erilaista alleelia on heterotsygoottinen</a:t>
          </a:r>
          <a:endParaRPr lang="fi-FI" sz="2400" kern="1200" dirty="0"/>
        </a:p>
      </dsp:txBody>
      <dsp:txXfrm>
        <a:off x="28100" y="894248"/>
        <a:ext cx="9883528" cy="519439"/>
      </dsp:txXfrm>
    </dsp:sp>
    <dsp:sp modelId="{7D305730-1DA8-4BEB-B659-E57AF5F0F90B}">
      <dsp:nvSpPr>
        <dsp:cNvPr id="0" name=""/>
        <dsp:cNvSpPr/>
      </dsp:nvSpPr>
      <dsp:spPr>
        <a:xfrm>
          <a:off x="0" y="151090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400" kern="1200"/>
            <a:t>dominoiva alleeli peittää resessiivisen alleelin vaikutuksen Vv</a:t>
          </a:r>
          <a:endParaRPr lang="fi-FI" sz="2400" kern="1200" dirty="0"/>
        </a:p>
      </dsp:txBody>
      <dsp:txXfrm>
        <a:off x="28100" y="1539008"/>
        <a:ext cx="9883528" cy="519439"/>
      </dsp:txXfrm>
    </dsp:sp>
    <dsp:sp modelId="{B4F0054F-391A-4FA8-9A4F-B26CFAD89CCE}">
      <dsp:nvSpPr>
        <dsp:cNvPr id="0" name=""/>
        <dsp:cNvSpPr/>
      </dsp:nvSpPr>
      <dsp:spPr>
        <a:xfrm>
          <a:off x="0" y="215566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dominoivaa alleelia merkitään isolla kirjaimella esim. V</a:t>
          </a:r>
        </a:p>
      </dsp:txBody>
      <dsp:txXfrm>
        <a:off x="28100" y="2183768"/>
        <a:ext cx="9883528" cy="519439"/>
      </dsp:txXfrm>
    </dsp:sp>
    <dsp:sp modelId="{7D0C1422-7AF4-4B18-8D50-D1FE7F858C47}">
      <dsp:nvSpPr>
        <dsp:cNvPr id="0" name=""/>
        <dsp:cNvSpPr/>
      </dsp:nvSpPr>
      <dsp:spPr>
        <a:xfrm>
          <a:off x="0" y="280042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resessiivinen alleeli ilmenee vain, jos se esiintyy kasinkertaisena esimerkiksi </a:t>
          </a:r>
          <a:r>
            <a:rPr lang="fi-FI" sz="2400" kern="1200" dirty="0" err="1"/>
            <a:t>vv</a:t>
          </a:r>
          <a:endParaRPr lang="fi-FI" sz="2400" kern="1200" dirty="0"/>
        </a:p>
      </dsp:txBody>
      <dsp:txXfrm>
        <a:off x="28100" y="2828528"/>
        <a:ext cx="9883528" cy="519439"/>
      </dsp:txXfrm>
    </dsp:sp>
    <dsp:sp modelId="{DA3A4A5A-828E-4DB1-9FC6-F4089481B8D6}">
      <dsp:nvSpPr>
        <dsp:cNvPr id="0" name=""/>
        <dsp:cNvSpPr/>
      </dsp:nvSpPr>
      <dsp:spPr>
        <a:xfrm>
          <a:off x="0" y="3445188"/>
          <a:ext cx="9939728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/>
            <a:t>kaikki alleelit eivät ole dominoivia tai resessiivisiä</a:t>
          </a:r>
          <a:endParaRPr lang="fi-FI" sz="2400" kern="1200" dirty="0"/>
        </a:p>
      </dsp:txBody>
      <dsp:txXfrm>
        <a:off x="28100" y="3473288"/>
        <a:ext cx="9883528" cy="51943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232514"/>
          <a:ext cx="4307068" cy="835379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/>
            <a:t>Monohybridiristeytyksessä tutkitaan yhden alleeliparin periytymistä</a:t>
          </a:r>
          <a:endParaRPr lang="en-US" sz="2100" kern="1200" dirty="0"/>
        </a:p>
      </dsp:txBody>
      <dsp:txXfrm>
        <a:off x="40780" y="273294"/>
        <a:ext cx="4225508" cy="753819"/>
      </dsp:txXfrm>
    </dsp:sp>
    <dsp:sp modelId="{BFD4EF96-1CE6-49E4-A2C5-AD9722D55C76}">
      <dsp:nvSpPr>
        <dsp:cNvPr id="0" name=""/>
        <dsp:cNvSpPr/>
      </dsp:nvSpPr>
      <dsp:spPr>
        <a:xfrm>
          <a:off x="0" y="1128374"/>
          <a:ext cx="4307068" cy="835379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/>
            <a:t>keskeiset löydökset:</a:t>
          </a:r>
        </a:p>
      </dsp:txBody>
      <dsp:txXfrm>
        <a:off x="40780" y="1169154"/>
        <a:ext cx="4225508" cy="753819"/>
      </dsp:txXfrm>
    </dsp:sp>
    <dsp:sp modelId="{64757CB6-AB8B-4B5B-8D7E-817339A95619}">
      <dsp:nvSpPr>
        <dsp:cNvPr id="0" name=""/>
        <dsp:cNvSpPr/>
      </dsp:nvSpPr>
      <dsp:spPr>
        <a:xfrm>
          <a:off x="0" y="1963754"/>
          <a:ext cx="4307068" cy="1738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749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valkokukkaiset herneet tuottavat vain valkokukkaisia jälkeläisiä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Puhtaan linjan violettikukkaiset herneet tuottavat vain violettikukkaisia jälkeläisiä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valkokukkaisten kanssa sekaisin kasvaneet violettikukkaiset herneet saivat risteytettäessä sekä violetti- että valkokukkaisia jälkeläisiä</a:t>
          </a:r>
        </a:p>
      </dsp:txBody>
      <dsp:txXfrm>
        <a:off x="0" y="1963754"/>
        <a:ext cx="4307068" cy="17388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32556"/>
          <a:ext cx="917523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/>
            <a:t>Kun yhdestä geenistä on useampi kuin kaksi alleelia, puhutaan multippeleista alleeleista</a:t>
          </a:r>
        </a:p>
      </dsp:txBody>
      <dsp:txXfrm>
        <a:off x="40780" y="73336"/>
        <a:ext cx="9093670" cy="753819"/>
      </dsp:txXfrm>
    </dsp:sp>
    <dsp:sp modelId="{CC55F207-697D-4A0C-A824-2A65612FC5E6}">
      <dsp:nvSpPr>
        <dsp:cNvPr id="0" name=""/>
        <dsp:cNvSpPr/>
      </dsp:nvSpPr>
      <dsp:spPr>
        <a:xfrm>
          <a:off x="0" y="867936"/>
          <a:ext cx="917523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1314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867936"/>
        <a:ext cx="9175230" cy="347760"/>
      </dsp:txXfrm>
    </dsp:sp>
    <dsp:sp modelId="{70D20C35-AC64-4FD9-B736-FB68AD5A5A92}">
      <dsp:nvSpPr>
        <dsp:cNvPr id="0" name=""/>
        <dsp:cNvSpPr/>
      </dsp:nvSpPr>
      <dsp:spPr>
        <a:xfrm>
          <a:off x="0" y="1215696"/>
          <a:ext cx="917523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/>
            <a:t>Multippelit alleelit ovat yleisiä </a:t>
          </a:r>
        </a:p>
      </dsp:txBody>
      <dsp:txXfrm>
        <a:off x="40780" y="1256476"/>
        <a:ext cx="9093670" cy="75381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37582"/>
          <a:ext cx="4307068" cy="1620486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Välimuotoisessa periytymisessä kummankin alleelin vaikutus näkyy samanaikaisesti</a:t>
          </a:r>
          <a:endParaRPr lang="en-US" sz="2300" kern="1200" dirty="0"/>
        </a:p>
      </dsp:txBody>
      <dsp:txXfrm>
        <a:off x="79106" y="116688"/>
        <a:ext cx="4148856" cy="1462274"/>
      </dsp:txXfrm>
    </dsp:sp>
    <dsp:sp modelId="{4ED88325-4F96-4D30-BA0B-EF9078B5BEFA}">
      <dsp:nvSpPr>
        <dsp:cNvPr id="0" name=""/>
        <dsp:cNvSpPr/>
      </dsp:nvSpPr>
      <dsp:spPr>
        <a:xfrm>
          <a:off x="0" y="1658069"/>
          <a:ext cx="4307068" cy="6189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749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800" kern="1200" dirty="0"/>
            <a:t>toinen alleeli ei dominoi toista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800" kern="1200" dirty="0"/>
        </a:p>
      </dsp:txBody>
      <dsp:txXfrm>
        <a:off x="0" y="1658069"/>
        <a:ext cx="4307068" cy="618930"/>
      </dsp:txXfrm>
    </dsp:sp>
    <dsp:sp modelId="{BFD4EF96-1CE6-49E4-A2C5-AD9722D55C76}">
      <dsp:nvSpPr>
        <dsp:cNvPr id="0" name=""/>
        <dsp:cNvSpPr/>
      </dsp:nvSpPr>
      <dsp:spPr>
        <a:xfrm>
          <a:off x="0" y="2276999"/>
          <a:ext cx="4307068" cy="1620486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/>
            <a:t>Yhteisvallitsevassa periytymisessä kumpikin alleeli vaikuttaa itsenäisesti esimerkiksi veriryhmä AB</a:t>
          </a:r>
          <a:endParaRPr lang="fi-FI" sz="2300" kern="1200" dirty="0"/>
        </a:p>
      </dsp:txBody>
      <dsp:txXfrm>
        <a:off x="79106" y="2356105"/>
        <a:ext cx="4148856" cy="146227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349151"/>
          <a:ext cx="9752351" cy="55165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Tiettyjä alleeleja tavataan vain heterotsygoottisilla yksilöillä</a:t>
          </a:r>
        </a:p>
      </dsp:txBody>
      <dsp:txXfrm>
        <a:off x="26930" y="376081"/>
        <a:ext cx="9698491" cy="497795"/>
      </dsp:txXfrm>
    </dsp:sp>
    <dsp:sp modelId="{2A7433A9-AD7E-447A-BD6E-7EE09B7CC41D}">
      <dsp:nvSpPr>
        <dsp:cNvPr id="0" name=""/>
        <dsp:cNvSpPr/>
      </dsp:nvSpPr>
      <dsp:spPr>
        <a:xfrm>
          <a:off x="0" y="900806"/>
          <a:ext cx="97523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963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800" kern="1200" dirty="0"/>
        </a:p>
      </dsp:txBody>
      <dsp:txXfrm>
        <a:off x="0" y="900806"/>
        <a:ext cx="9752351" cy="380880"/>
      </dsp:txXfrm>
    </dsp:sp>
    <dsp:sp modelId="{70D20C35-AC64-4FD9-B736-FB68AD5A5A92}">
      <dsp:nvSpPr>
        <dsp:cNvPr id="0" name=""/>
        <dsp:cNvSpPr/>
      </dsp:nvSpPr>
      <dsp:spPr>
        <a:xfrm>
          <a:off x="0" y="1281686"/>
          <a:ext cx="9752351" cy="551655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Nämä alleelit aiheuttavat homotsygoottisina kuoleman yleensä jo sikiövaiheessa</a:t>
          </a:r>
        </a:p>
      </dsp:txBody>
      <dsp:txXfrm>
        <a:off x="26930" y="1308616"/>
        <a:ext cx="9698491" cy="497795"/>
      </dsp:txXfrm>
    </dsp:sp>
    <dsp:sp modelId="{0E8D784E-0557-4241-93B9-7D45F47B65AE}">
      <dsp:nvSpPr>
        <dsp:cNvPr id="0" name=""/>
        <dsp:cNvSpPr/>
      </dsp:nvSpPr>
      <dsp:spPr>
        <a:xfrm>
          <a:off x="0" y="1833341"/>
          <a:ext cx="97523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963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800" kern="1200" dirty="0"/>
        </a:p>
      </dsp:txBody>
      <dsp:txXfrm>
        <a:off x="0" y="1833341"/>
        <a:ext cx="9752351" cy="380880"/>
      </dsp:txXfrm>
    </dsp:sp>
    <dsp:sp modelId="{7D305730-1DA8-4BEB-B659-E57AF5F0F90B}">
      <dsp:nvSpPr>
        <dsp:cNvPr id="0" name=""/>
        <dsp:cNvSpPr/>
      </dsp:nvSpPr>
      <dsp:spPr>
        <a:xfrm>
          <a:off x="0" y="2214221"/>
          <a:ext cx="9752351" cy="551655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300" kern="1200" dirty="0"/>
            <a:t>Tällaisia homotsygoottisina tappavia alleeleja kutsutaan letaalialleeleiksi</a:t>
          </a:r>
        </a:p>
      </dsp:txBody>
      <dsp:txXfrm>
        <a:off x="26930" y="2241151"/>
        <a:ext cx="9698491" cy="497795"/>
      </dsp:txXfrm>
    </dsp:sp>
    <dsp:sp modelId="{77645254-E134-4E95-B777-B945C532F26C}">
      <dsp:nvSpPr>
        <dsp:cNvPr id="0" name=""/>
        <dsp:cNvSpPr/>
      </dsp:nvSpPr>
      <dsp:spPr>
        <a:xfrm>
          <a:off x="0" y="2765876"/>
          <a:ext cx="97523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963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endParaRPr lang="fi-FI" sz="1800" kern="1200" dirty="0"/>
        </a:p>
      </dsp:txBody>
      <dsp:txXfrm>
        <a:off x="0" y="2765876"/>
        <a:ext cx="9752351" cy="3808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7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32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10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Alleelipari voi vaikuttaa ominaisuuksiin eri tavoin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2182070"/>
              </p:ext>
            </p:extLst>
          </p:nvPr>
        </p:nvGraphicFramePr>
        <p:xfrm>
          <a:off x="838200" y="2075508"/>
          <a:ext cx="10515600" cy="3043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597830" y="298772"/>
            <a:ext cx="4197887" cy="170991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Geenimutaatioissa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yntyy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uusi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leelei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991921" y="1413592"/>
            <a:ext cx="5516310" cy="4000841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11" name="Tekstiruutu 5">
            <a:extLst>
              <a:ext uri="{FF2B5EF4-FFF2-40B4-BE49-F238E27FC236}">
                <a16:creationId xmlns:a16="http://schemas.microsoft.com/office/drawing/2014/main" id="{E414962B-1761-4E7F-BCEE-C104F3FF22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3359672"/>
              </p:ext>
            </p:extLst>
          </p:nvPr>
        </p:nvGraphicFramePr>
        <p:xfrm>
          <a:off x="1199039" y="2098471"/>
          <a:ext cx="3404008" cy="3601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35016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-411880" y="415901"/>
            <a:ext cx="6170229" cy="126666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leeleista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uodostuu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leeliparej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991921" y="1872690"/>
            <a:ext cx="5516310" cy="3082644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11" name="Tekstiruutu 5">
            <a:extLst>
              <a:ext uri="{FF2B5EF4-FFF2-40B4-BE49-F238E27FC236}">
                <a16:creationId xmlns:a16="http://schemas.microsoft.com/office/drawing/2014/main" id="{E414962B-1761-4E7F-BCEE-C104F3FF22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501945"/>
              </p:ext>
            </p:extLst>
          </p:nvPr>
        </p:nvGraphicFramePr>
        <p:xfrm>
          <a:off x="989977" y="1956065"/>
          <a:ext cx="3822132" cy="3601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07906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22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0423337"/>
              </p:ext>
            </p:extLst>
          </p:nvPr>
        </p:nvGraphicFramePr>
        <p:xfrm>
          <a:off x="838200" y="1454046"/>
          <a:ext cx="9939728" cy="4242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sp>
        <p:nvSpPr>
          <p:cNvPr id="12" name="Otsikko 1">
            <a:extLst>
              <a:ext uri="{FF2B5EF4-FFF2-40B4-BE49-F238E27FC236}">
                <a16:creationId xmlns:a16="http://schemas.microsoft.com/office/drawing/2014/main" id="{68CFF215-9282-4416-8A74-845BD5216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Alleeleilla on erilainen vaikutus fenotyyppiin</a:t>
            </a:r>
            <a:endParaRPr lang="fi-FI" sz="3600" dirty="0"/>
          </a:p>
        </p:txBody>
      </p:sp>
    </p:spTree>
    <p:extLst>
      <p:ext uri="{BB962C8B-B14F-4D97-AF65-F5344CB8AC3E}">
        <p14:creationId xmlns:p14="http://schemas.microsoft.com/office/powerpoint/2010/main" val="32565509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225202" y="138151"/>
            <a:ext cx="10848292" cy="126666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Perinnöllisyyden pääpiirteet selvisivät </a:t>
            </a:r>
            <a:r>
              <a:rPr lang="fi-FI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endelin</a:t>
            </a: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risteytyskokeill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891852" y="1224665"/>
            <a:ext cx="3751164" cy="503727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11" name="Tekstiruutu 5">
            <a:extLst>
              <a:ext uri="{FF2B5EF4-FFF2-40B4-BE49-F238E27FC236}">
                <a16:creationId xmlns:a16="http://schemas.microsoft.com/office/drawing/2014/main" id="{E414962B-1761-4E7F-BCEE-C104F3FF22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1713074"/>
              </p:ext>
            </p:extLst>
          </p:nvPr>
        </p:nvGraphicFramePr>
        <p:xfrm>
          <a:off x="747509" y="1775769"/>
          <a:ext cx="4307068" cy="39350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676898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17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0972259"/>
              </p:ext>
            </p:extLst>
          </p:nvPr>
        </p:nvGraphicFramePr>
        <p:xfrm>
          <a:off x="898160" y="1892682"/>
          <a:ext cx="9175230" cy="2083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sp>
        <p:nvSpPr>
          <p:cNvPr id="12" name="Otsikko 1">
            <a:extLst>
              <a:ext uri="{FF2B5EF4-FFF2-40B4-BE49-F238E27FC236}">
                <a16:creationId xmlns:a16="http://schemas.microsoft.com/office/drawing/2014/main" id="{68CFF215-9282-4416-8A74-845BD5216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amasta geenistä voi olla useampi kuin kaksi alleelia</a:t>
            </a:r>
            <a:endParaRPr lang="fi-FI" sz="3600" dirty="0"/>
          </a:p>
        </p:txBody>
      </p:sp>
    </p:spTree>
    <p:extLst>
      <p:ext uri="{BB962C8B-B14F-4D97-AF65-F5344CB8AC3E}">
        <p14:creationId xmlns:p14="http://schemas.microsoft.com/office/powerpoint/2010/main" val="2180868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671854" y="415901"/>
            <a:ext cx="10848292" cy="8087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aikki alleelit eivät ole dominoivia tai resessiivisiä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891852" y="1472419"/>
            <a:ext cx="3751164" cy="4928165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11" name="Tekstiruutu 5">
            <a:extLst>
              <a:ext uri="{FF2B5EF4-FFF2-40B4-BE49-F238E27FC236}">
                <a16:creationId xmlns:a16="http://schemas.microsoft.com/office/drawing/2014/main" id="{E414962B-1761-4E7F-BCEE-C104F3FF22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1818720"/>
              </p:ext>
            </p:extLst>
          </p:nvPr>
        </p:nvGraphicFramePr>
        <p:xfrm>
          <a:off x="747509" y="1522820"/>
          <a:ext cx="4307068" cy="39350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987196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838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Jotkin alleelit ovat kaksinkertaisina tappavi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6070032"/>
              </p:ext>
            </p:extLst>
          </p:nvPr>
        </p:nvGraphicFramePr>
        <p:xfrm>
          <a:off x="838200" y="1690689"/>
          <a:ext cx="9752351" cy="34959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808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131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  <p:pic>
        <p:nvPicPr>
          <p:cNvPr id="11" name="Kuva 10">
            <a:extLst>
              <a:ext uri="{FF2B5EF4-FFF2-40B4-BE49-F238E27FC236}">
                <a16:creationId xmlns:a16="http://schemas.microsoft.com/office/drawing/2014/main" id="{5B29651F-B6A1-4255-9E21-CACB7100E2F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33643" y="292026"/>
            <a:ext cx="5333039" cy="633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515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83</TotalTime>
  <Words>258</Words>
  <Application>Microsoft Office PowerPoint</Application>
  <PresentationFormat>Laajakuva</PresentationFormat>
  <Paragraphs>37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Myriad Pro Semibold</vt:lpstr>
      <vt:lpstr>Office-teema</vt:lpstr>
      <vt:lpstr>think-cell Slide</vt:lpstr>
      <vt:lpstr>10 Alleelipari voi vaikuttaa ominaisuuksiin eri tavoin</vt:lpstr>
      <vt:lpstr>PowerPoint-esitys</vt:lpstr>
      <vt:lpstr>PowerPoint-esitys</vt:lpstr>
      <vt:lpstr>Alleeleilla on erilainen vaikutus fenotyyppiin</vt:lpstr>
      <vt:lpstr>PowerPoint-esitys</vt:lpstr>
      <vt:lpstr>Samasta geenistä voi olla useampi kuin kaksi alleelia</vt:lpstr>
      <vt:lpstr>PowerPoint-esitys</vt:lpstr>
      <vt:lpstr>Jotkin alleelit ovat kaksinkertaisina tappavia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21:2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